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" ContentType="image/tiff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9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10.xml" ContentType="application/vnd.openxmlformats-officedocument.presentationml.tags+xml"/>
  <Override PartName="/ppt/notesSlides/notesSlide1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22"/>
  </p:notesMasterIdLst>
  <p:handoutMasterIdLst>
    <p:handoutMasterId r:id="rId23"/>
  </p:handoutMasterIdLst>
  <p:sldIdLst>
    <p:sldId id="382" r:id="rId5"/>
    <p:sldId id="383" r:id="rId6"/>
    <p:sldId id="416" r:id="rId7"/>
    <p:sldId id="385" r:id="rId8"/>
    <p:sldId id="390" r:id="rId9"/>
    <p:sldId id="387" r:id="rId10"/>
    <p:sldId id="415" r:id="rId11"/>
    <p:sldId id="397" r:id="rId12"/>
    <p:sldId id="414" r:id="rId13"/>
    <p:sldId id="412" r:id="rId14"/>
    <p:sldId id="413" r:id="rId15"/>
    <p:sldId id="366" r:id="rId16"/>
    <p:sldId id="367" r:id="rId17"/>
    <p:sldId id="368" r:id="rId18"/>
    <p:sldId id="369" r:id="rId19"/>
    <p:sldId id="370" r:id="rId20"/>
    <p:sldId id="381" r:id="rId21"/>
  </p:sldIdLst>
  <p:sldSz cx="9145588" cy="6858000"/>
  <p:notesSz cx="6797675" cy="9928225"/>
  <p:custDataLst>
    <p:tags r:id="rId2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rtin Erkander" initials="ME" lastIdx="4" clrIdx="0">
    <p:extLst>
      <p:ext uri="{19B8F6BF-5375-455C-9EA6-DF929625EA0E}">
        <p15:presenceInfo xmlns:p15="http://schemas.microsoft.com/office/powerpoint/2012/main" userId="S-1-5-21-1472859983-109138142-169162935-407867" providerId="AD"/>
      </p:ext>
    </p:extLst>
  </p:cmAuthor>
  <p:cmAuthor id="2" name="Benoit Gamen" initials="BG" lastIdx="5" clrIdx="1">
    <p:extLst>
      <p:ext uri="{19B8F6BF-5375-455C-9EA6-DF929625EA0E}">
        <p15:presenceInfo xmlns:p15="http://schemas.microsoft.com/office/powerpoint/2012/main" userId="S::benoit.gamen@fr.abb.com::3167fb2a-19f8-4990-bda3-c7be9157474f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FAF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073A0DAA-6AF3-43AB-8588-CEC1D06C72B9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27102A9-8310-4765-A935-A1911B00CA55}" styleName="Styl jasny 1 — Ak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ED083AE6-46FA-4A59-8FB0-9F97EB10719F}" styleName="Styl jasny 3 — Ak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2D5ABB26-0587-4C30-8999-92F81FD0307C}" styleName="Bez stylu, bez siatki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10A1B5D5-9B99-4C35-A422-299274C87663}" styleName="Mittlere Formatvorlage 1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FABFCF23-3B69-468F-B69F-88F6DE6A72F2}" styleName="Mittlere Formatvorlage 1 - Akz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8D230F3-CF80-4859-8CE7-A43EE81993B5}" styleName="Helle Formatvorlage 1 - Akz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773F8A54-F971-430D-9108-034FE38666EA}" styleName="ABB Default Table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0" cmpd="sng">
              <a:solidFill>
                <a:schemeClr val="dk1"/>
              </a:solidFill>
            </a:ln>
          </a:bottom>
          <a:insideH>
            <a:ln w="75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lt1"/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lt1"/>
          </a:solidFill>
        </a:fill>
      </a:tcStyle>
    </a:band1V>
    <a:band2V>
      <a:tcStyle>
        <a:tcBdr/>
      </a:tcStyle>
    </a:band2V>
    <a:lastCol>
      <a:tcTxStyle b="off">
        <a:fontRef idx="minor">
          <a:schemeClr val="dk1"/>
        </a:fontRef>
        <a:schemeClr val="dk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hemeClr val="dk1"/>
        </a:fontRef>
        <a:schemeClr val="dk1"/>
      </a:tcTxStyle>
      <a:tcStyle>
        <a:tcBdr/>
        <a:fill>
          <a:solidFill>
            <a:schemeClr val="lt1"/>
          </a:solidFill>
        </a:fill>
      </a:tcStyle>
    </a:firstCol>
    <a:lastRow>
      <a:tcTxStyle b="off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tx2"/>
      </a:tcTxStyle>
      <a:tcStyle>
        <a:tcBdr>
          <a:bottom>
            <a:ln w="15000" cmpd="sng">
              <a:solidFill>
                <a:schemeClr val="dk1"/>
              </a:solidFill>
            </a:ln>
          </a:bottom>
        </a:tcBdr>
        <a:fill>
          <a:solidFill>
            <a:schemeClr val="lt1"/>
          </a:solidFill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927" autoAdjust="0"/>
    <p:restoredTop sz="87060" autoAdjust="0"/>
  </p:normalViewPr>
  <p:slideViewPr>
    <p:cSldViewPr snapToGrid="0" snapToObjects="1" showGuides="1">
      <p:cViewPr>
        <p:scale>
          <a:sx n="75" d="100"/>
          <a:sy n="75" d="100"/>
        </p:scale>
        <p:origin x="1157" y="43"/>
      </p:cViewPr>
      <p:guideLst/>
    </p:cSldViewPr>
  </p:slideViewPr>
  <p:outlineViewPr>
    <p:cViewPr>
      <p:scale>
        <a:sx n="33" d="100"/>
        <a:sy n="33" d="100"/>
      </p:scale>
      <p:origin x="0" y="-13278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-2184"/>
    </p:cViewPr>
  </p:sorterViewPr>
  <p:notesViewPr>
    <p:cSldViewPr snapToGrid="0" snapToObjects="1" showGuides="1">
      <p:cViewPr varScale="1">
        <p:scale>
          <a:sx n="84" d="100"/>
          <a:sy n="84" d="100"/>
        </p:scale>
        <p:origin x="-3804" y="-78"/>
      </p:cViewPr>
      <p:guideLst>
        <p:guide orient="horz" pos="3127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handoutMaster" Target="handoutMasters/handoutMaster1.xml"/><Relationship Id="rId28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notesMaster" Target="notesMasters/notesMaster1.xml"/><Relationship Id="rId27" Type="http://schemas.openxmlformats.org/officeDocument/2006/relationships/viewProps" Target="viewProps.xml"/><Relationship Id="rId30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enoit Gamen" userId="3167fb2a-19f8-4990-bda3-c7be9157474f" providerId="ADAL" clId="{D1C4564D-51E3-40DC-AB5F-6ACEC06E67E3}"/>
    <pc:docChg chg="undo custSel addSld delSld modSld sldOrd">
      <pc:chgData name="Benoit Gamen" userId="3167fb2a-19f8-4990-bda3-c7be9157474f" providerId="ADAL" clId="{D1C4564D-51E3-40DC-AB5F-6ACEC06E67E3}" dt="2020-06-17T08:21:17.795" v="681" actId="1592"/>
      <pc:docMkLst>
        <pc:docMk/>
      </pc:docMkLst>
      <pc:sldChg chg="modSp del">
        <pc:chgData name="Benoit Gamen" userId="3167fb2a-19f8-4990-bda3-c7be9157474f" providerId="ADAL" clId="{D1C4564D-51E3-40DC-AB5F-6ACEC06E67E3}" dt="2020-06-09T09:12:59.483" v="477" actId="2696"/>
        <pc:sldMkLst>
          <pc:docMk/>
          <pc:sldMk cId="3085520649" sldId="364"/>
        </pc:sldMkLst>
        <pc:graphicFrameChg chg="modGraphic">
          <ac:chgData name="Benoit Gamen" userId="3167fb2a-19f8-4990-bda3-c7be9157474f" providerId="ADAL" clId="{D1C4564D-51E3-40DC-AB5F-6ACEC06E67E3}" dt="2020-06-09T08:39:36.086" v="92" actId="2166"/>
          <ac:graphicFrameMkLst>
            <pc:docMk/>
            <pc:sldMk cId="3085520649" sldId="364"/>
            <ac:graphicFrameMk id="13" creationId="{00000000-0000-0000-0000-000000000000}"/>
          </ac:graphicFrameMkLst>
        </pc:graphicFrameChg>
      </pc:sldChg>
      <pc:sldChg chg="modSp del">
        <pc:chgData name="Benoit Gamen" userId="3167fb2a-19f8-4990-bda3-c7be9157474f" providerId="ADAL" clId="{D1C4564D-51E3-40DC-AB5F-6ACEC06E67E3}" dt="2020-06-09T09:13:02.557" v="478" actId="2696"/>
        <pc:sldMkLst>
          <pc:docMk/>
          <pc:sldMk cId="3661839242" sldId="365"/>
        </pc:sldMkLst>
        <pc:graphicFrameChg chg="mod modGraphic">
          <ac:chgData name="Benoit Gamen" userId="3167fb2a-19f8-4990-bda3-c7be9157474f" providerId="ADAL" clId="{D1C4564D-51E3-40DC-AB5F-6ACEC06E67E3}" dt="2020-06-09T09:04:28.650" v="322" actId="14734"/>
          <ac:graphicFrameMkLst>
            <pc:docMk/>
            <pc:sldMk cId="3661839242" sldId="365"/>
            <ac:graphicFrameMk id="58" creationId="{00000000-0000-0000-0000-000000000000}"/>
          </ac:graphicFrameMkLst>
        </pc:graphicFrameChg>
        <pc:picChg chg="mod">
          <ac:chgData name="Benoit Gamen" userId="3167fb2a-19f8-4990-bda3-c7be9157474f" providerId="ADAL" clId="{D1C4564D-51E3-40DC-AB5F-6ACEC06E67E3}" dt="2020-06-09T09:04:27.046" v="321" actId="1076"/>
          <ac:picMkLst>
            <pc:docMk/>
            <pc:sldMk cId="3661839242" sldId="365"/>
            <ac:picMk id="10" creationId="{1E4E20B8-208D-4457-A7AB-2F5299013D07}"/>
          </ac:picMkLst>
        </pc:picChg>
      </pc:sldChg>
      <pc:sldChg chg="modSp addCm delCm modCm">
        <pc:chgData name="Benoit Gamen" userId="3167fb2a-19f8-4990-bda3-c7be9157474f" providerId="ADAL" clId="{D1C4564D-51E3-40DC-AB5F-6ACEC06E67E3}" dt="2020-06-17T08:21:17.795" v="681" actId="1592"/>
        <pc:sldMkLst>
          <pc:docMk/>
          <pc:sldMk cId="2344476581" sldId="369"/>
        </pc:sldMkLst>
        <pc:spChg chg="mod">
          <ac:chgData name="Benoit Gamen" userId="3167fb2a-19f8-4990-bda3-c7be9157474f" providerId="ADAL" clId="{D1C4564D-51E3-40DC-AB5F-6ACEC06E67E3}" dt="2020-06-15T13:05:21.497" v="513" actId="6549"/>
          <ac:spMkLst>
            <pc:docMk/>
            <pc:sldMk cId="2344476581" sldId="369"/>
            <ac:spMk id="48" creationId="{00000000-0000-0000-0000-000000000000}"/>
          </ac:spMkLst>
        </pc:spChg>
      </pc:sldChg>
      <pc:sldChg chg="addSp delSp modSp addCm delCm modCm">
        <pc:chgData name="Benoit Gamen" userId="3167fb2a-19f8-4990-bda3-c7be9157474f" providerId="ADAL" clId="{D1C4564D-51E3-40DC-AB5F-6ACEC06E67E3}" dt="2020-06-17T08:21:14.111" v="680" actId="1592"/>
        <pc:sldMkLst>
          <pc:docMk/>
          <pc:sldMk cId="897978664" sldId="370"/>
        </pc:sldMkLst>
        <pc:spChg chg="mod">
          <ac:chgData name="Benoit Gamen" userId="3167fb2a-19f8-4990-bda3-c7be9157474f" providerId="ADAL" clId="{D1C4564D-51E3-40DC-AB5F-6ACEC06E67E3}" dt="2020-06-15T13:05:37.444" v="514"/>
          <ac:spMkLst>
            <pc:docMk/>
            <pc:sldMk cId="897978664" sldId="370"/>
            <ac:spMk id="6" creationId="{00000000-0000-0000-0000-000000000000}"/>
          </ac:spMkLst>
        </pc:spChg>
        <pc:spChg chg="add del mod">
          <ac:chgData name="Benoit Gamen" userId="3167fb2a-19f8-4990-bda3-c7be9157474f" providerId="ADAL" clId="{D1C4564D-51E3-40DC-AB5F-6ACEC06E67E3}" dt="2020-06-15T11:23:24.411" v="485" actId="478"/>
          <ac:spMkLst>
            <pc:docMk/>
            <pc:sldMk cId="897978664" sldId="370"/>
            <ac:spMk id="9" creationId="{02E0476E-5272-45E8-8074-AA447A7674DB}"/>
          </ac:spMkLst>
        </pc:spChg>
      </pc:sldChg>
      <pc:sldChg chg="modSp add">
        <pc:chgData name="Benoit Gamen" userId="3167fb2a-19f8-4990-bda3-c7be9157474f" providerId="ADAL" clId="{D1C4564D-51E3-40DC-AB5F-6ACEC06E67E3}" dt="2020-06-17T08:17:49.932" v="622" actId="6549"/>
        <pc:sldMkLst>
          <pc:docMk/>
          <pc:sldMk cId="1019912182" sldId="383"/>
        </pc:sldMkLst>
        <pc:spChg chg="mod">
          <ac:chgData name="Benoit Gamen" userId="3167fb2a-19f8-4990-bda3-c7be9157474f" providerId="ADAL" clId="{D1C4564D-51E3-40DC-AB5F-6ACEC06E67E3}" dt="2020-06-17T08:17:49.932" v="622" actId="6549"/>
          <ac:spMkLst>
            <pc:docMk/>
            <pc:sldMk cId="1019912182" sldId="383"/>
            <ac:spMk id="3" creationId="{00000000-0000-0000-0000-000000000000}"/>
          </ac:spMkLst>
        </pc:spChg>
      </pc:sldChg>
      <pc:sldChg chg="del">
        <pc:chgData name="Benoit Gamen" userId="3167fb2a-19f8-4990-bda3-c7be9157474f" providerId="ADAL" clId="{D1C4564D-51E3-40DC-AB5F-6ACEC06E67E3}" dt="2020-06-09T08:32:08.932" v="0" actId="2696"/>
        <pc:sldMkLst>
          <pc:docMk/>
          <pc:sldMk cId="2522029757" sldId="384"/>
        </pc:sldMkLst>
      </pc:sldChg>
      <pc:sldChg chg="modSp modNotesTx">
        <pc:chgData name="Benoit Gamen" userId="3167fb2a-19f8-4990-bda3-c7be9157474f" providerId="ADAL" clId="{D1C4564D-51E3-40DC-AB5F-6ACEC06E67E3}" dt="2020-06-17T07:49:16.609" v="515" actId="6549"/>
        <pc:sldMkLst>
          <pc:docMk/>
          <pc:sldMk cId="120703535" sldId="385"/>
        </pc:sldMkLst>
        <pc:spChg chg="mod">
          <ac:chgData name="Benoit Gamen" userId="3167fb2a-19f8-4990-bda3-c7be9157474f" providerId="ADAL" clId="{D1C4564D-51E3-40DC-AB5F-6ACEC06E67E3}" dt="2020-06-09T08:32:39.612" v="4" actId="20577"/>
          <ac:spMkLst>
            <pc:docMk/>
            <pc:sldMk cId="120703535" sldId="385"/>
            <ac:spMk id="8" creationId="{00000000-0000-0000-0000-000000000000}"/>
          </ac:spMkLst>
        </pc:spChg>
      </pc:sldChg>
      <pc:sldChg chg="modSp ord modNotesTx">
        <pc:chgData name="Benoit Gamen" userId="3167fb2a-19f8-4990-bda3-c7be9157474f" providerId="ADAL" clId="{D1C4564D-51E3-40DC-AB5F-6ACEC06E67E3}" dt="2020-06-17T08:14:40.726" v="614"/>
        <pc:sldMkLst>
          <pc:docMk/>
          <pc:sldMk cId="1525326796" sldId="390"/>
        </pc:sldMkLst>
        <pc:graphicFrameChg chg="mod modGraphic">
          <ac:chgData name="Benoit Gamen" userId="3167fb2a-19f8-4990-bda3-c7be9157474f" providerId="ADAL" clId="{D1C4564D-51E3-40DC-AB5F-6ACEC06E67E3}" dt="2020-06-17T08:14:40.726" v="614"/>
          <ac:graphicFrameMkLst>
            <pc:docMk/>
            <pc:sldMk cId="1525326796" sldId="390"/>
            <ac:graphicFrameMk id="13" creationId="{00000000-0000-0000-0000-000000000000}"/>
          </ac:graphicFrameMkLst>
        </pc:graphicFrameChg>
        <pc:picChg chg="mod">
          <ac:chgData name="Benoit Gamen" userId="3167fb2a-19f8-4990-bda3-c7be9157474f" providerId="ADAL" clId="{D1C4564D-51E3-40DC-AB5F-6ACEC06E67E3}" dt="2020-06-17T08:12:29.452" v="599" actId="1035"/>
          <ac:picMkLst>
            <pc:docMk/>
            <pc:sldMk cId="1525326796" sldId="390"/>
            <ac:picMk id="8" creationId="{00000000-0000-0000-0000-000000000000}"/>
          </ac:picMkLst>
        </pc:picChg>
        <pc:picChg chg="mod">
          <ac:chgData name="Benoit Gamen" userId="3167fb2a-19f8-4990-bda3-c7be9157474f" providerId="ADAL" clId="{D1C4564D-51E3-40DC-AB5F-6ACEC06E67E3}" dt="2020-06-17T08:12:29.452" v="599" actId="1035"/>
          <ac:picMkLst>
            <pc:docMk/>
            <pc:sldMk cId="1525326796" sldId="390"/>
            <ac:picMk id="9" creationId="{00000000-0000-0000-0000-000000000000}"/>
          </ac:picMkLst>
        </pc:picChg>
        <pc:picChg chg="mod">
          <ac:chgData name="Benoit Gamen" userId="3167fb2a-19f8-4990-bda3-c7be9157474f" providerId="ADAL" clId="{D1C4564D-51E3-40DC-AB5F-6ACEC06E67E3}" dt="2020-06-17T08:12:29.452" v="599" actId="1035"/>
          <ac:picMkLst>
            <pc:docMk/>
            <pc:sldMk cId="1525326796" sldId="390"/>
            <ac:picMk id="10" creationId="{00000000-0000-0000-0000-000000000000}"/>
          </ac:picMkLst>
        </pc:picChg>
        <pc:picChg chg="mod">
          <ac:chgData name="Benoit Gamen" userId="3167fb2a-19f8-4990-bda3-c7be9157474f" providerId="ADAL" clId="{D1C4564D-51E3-40DC-AB5F-6ACEC06E67E3}" dt="2020-06-17T08:12:29.452" v="599" actId="1035"/>
          <ac:picMkLst>
            <pc:docMk/>
            <pc:sldMk cId="1525326796" sldId="390"/>
            <ac:picMk id="11" creationId="{00000000-0000-0000-0000-000000000000}"/>
          </ac:picMkLst>
        </pc:picChg>
        <pc:picChg chg="mod">
          <ac:chgData name="Benoit Gamen" userId="3167fb2a-19f8-4990-bda3-c7be9157474f" providerId="ADAL" clId="{D1C4564D-51E3-40DC-AB5F-6ACEC06E67E3}" dt="2020-06-17T08:12:29.452" v="599" actId="1035"/>
          <ac:picMkLst>
            <pc:docMk/>
            <pc:sldMk cId="1525326796" sldId="390"/>
            <ac:picMk id="12" creationId="{00000000-0000-0000-0000-000000000000}"/>
          </ac:picMkLst>
        </pc:picChg>
        <pc:picChg chg="mod">
          <ac:chgData name="Benoit Gamen" userId="3167fb2a-19f8-4990-bda3-c7be9157474f" providerId="ADAL" clId="{D1C4564D-51E3-40DC-AB5F-6ACEC06E67E3}" dt="2020-06-17T08:12:29.452" v="599" actId="1035"/>
          <ac:picMkLst>
            <pc:docMk/>
            <pc:sldMk cId="1525326796" sldId="390"/>
            <ac:picMk id="17" creationId="{00000000-0000-0000-0000-000000000000}"/>
          </ac:picMkLst>
        </pc:picChg>
        <pc:picChg chg="mod">
          <ac:chgData name="Benoit Gamen" userId="3167fb2a-19f8-4990-bda3-c7be9157474f" providerId="ADAL" clId="{D1C4564D-51E3-40DC-AB5F-6ACEC06E67E3}" dt="2020-06-17T08:12:29.452" v="599" actId="1035"/>
          <ac:picMkLst>
            <pc:docMk/>
            <pc:sldMk cId="1525326796" sldId="390"/>
            <ac:picMk id="18" creationId="{00000000-0000-0000-0000-000000000000}"/>
          </ac:picMkLst>
        </pc:picChg>
        <pc:picChg chg="mod">
          <ac:chgData name="Benoit Gamen" userId="3167fb2a-19f8-4990-bda3-c7be9157474f" providerId="ADAL" clId="{D1C4564D-51E3-40DC-AB5F-6ACEC06E67E3}" dt="2020-06-17T08:12:29.452" v="599" actId="1035"/>
          <ac:picMkLst>
            <pc:docMk/>
            <pc:sldMk cId="1525326796" sldId="390"/>
            <ac:picMk id="19" creationId="{00000000-0000-0000-0000-000000000000}"/>
          </ac:picMkLst>
        </pc:picChg>
      </pc:sldChg>
      <pc:sldChg chg="modSp">
        <pc:chgData name="Benoit Gamen" userId="3167fb2a-19f8-4990-bda3-c7be9157474f" providerId="ADAL" clId="{D1C4564D-51E3-40DC-AB5F-6ACEC06E67E3}" dt="2020-06-17T08:13:42.325" v="613"/>
        <pc:sldMkLst>
          <pc:docMk/>
          <pc:sldMk cId="798414340" sldId="397"/>
        </pc:sldMkLst>
        <pc:graphicFrameChg chg="mod modGraphic">
          <ac:chgData name="Benoit Gamen" userId="3167fb2a-19f8-4990-bda3-c7be9157474f" providerId="ADAL" clId="{D1C4564D-51E3-40DC-AB5F-6ACEC06E67E3}" dt="2020-06-17T08:13:42.325" v="613"/>
          <ac:graphicFrameMkLst>
            <pc:docMk/>
            <pc:sldMk cId="798414340" sldId="397"/>
            <ac:graphicFrameMk id="2" creationId="{D97389F5-6EB0-41BA-8E9B-F0F149D4388F}"/>
          </ac:graphicFrameMkLst>
        </pc:graphicFrameChg>
      </pc:sldChg>
      <pc:sldChg chg="del">
        <pc:chgData name="Benoit Gamen" userId="3167fb2a-19f8-4990-bda3-c7be9157474f" providerId="ADAL" clId="{D1C4564D-51E3-40DC-AB5F-6ACEC06E67E3}" dt="2020-06-17T08:15:39.442" v="616" actId="2696"/>
        <pc:sldMkLst>
          <pc:docMk/>
          <pc:sldMk cId="3205748453" sldId="404"/>
        </pc:sldMkLst>
      </pc:sldChg>
      <pc:sldChg chg="modSp">
        <pc:chgData name="Benoit Gamen" userId="3167fb2a-19f8-4990-bda3-c7be9157474f" providerId="ADAL" clId="{D1C4564D-51E3-40DC-AB5F-6ACEC06E67E3}" dt="2020-06-17T08:18:05.090" v="624" actId="20577"/>
        <pc:sldMkLst>
          <pc:docMk/>
          <pc:sldMk cId="3676314414" sldId="412"/>
        </pc:sldMkLst>
        <pc:spChg chg="mod">
          <ac:chgData name="Benoit Gamen" userId="3167fb2a-19f8-4990-bda3-c7be9157474f" providerId="ADAL" clId="{D1C4564D-51E3-40DC-AB5F-6ACEC06E67E3}" dt="2020-06-09T08:39:51.784" v="106" actId="20577"/>
          <ac:spMkLst>
            <pc:docMk/>
            <pc:sldMk cId="3676314414" sldId="412"/>
            <ac:spMk id="6" creationId="{00000000-0000-0000-0000-000000000000}"/>
          </ac:spMkLst>
        </pc:spChg>
        <pc:spChg chg="mod">
          <ac:chgData name="Benoit Gamen" userId="3167fb2a-19f8-4990-bda3-c7be9157474f" providerId="ADAL" clId="{D1C4564D-51E3-40DC-AB5F-6ACEC06E67E3}" dt="2020-06-17T08:18:05.090" v="624" actId="20577"/>
          <ac:spMkLst>
            <pc:docMk/>
            <pc:sldMk cId="3676314414" sldId="412"/>
            <ac:spMk id="7" creationId="{00000000-0000-0000-0000-000000000000}"/>
          </ac:spMkLst>
        </pc:spChg>
        <pc:spChg chg="mod">
          <ac:chgData name="Benoit Gamen" userId="3167fb2a-19f8-4990-bda3-c7be9157474f" providerId="ADAL" clId="{D1C4564D-51E3-40DC-AB5F-6ACEC06E67E3}" dt="2020-06-09T08:34:47.142" v="44" actId="14100"/>
          <ac:spMkLst>
            <pc:docMk/>
            <pc:sldMk cId="3676314414" sldId="412"/>
            <ac:spMk id="47" creationId="{00000000-0000-0000-0000-000000000000}"/>
          </ac:spMkLst>
        </pc:spChg>
        <pc:spChg chg="mod">
          <ac:chgData name="Benoit Gamen" userId="3167fb2a-19f8-4990-bda3-c7be9157474f" providerId="ADAL" clId="{D1C4564D-51E3-40DC-AB5F-6ACEC06E67E3}" dt="2020-06-09T08:34:57.621" v="51" actId="14100"/>
          <ac:spMkLst>
            <pc:docMk/>
            <pc:sldMk cId="3676314414" sldId="412"/>
            <ac:spMk id="48" creationId="{00000000-0000-0000-0000-000000000000}"/>
          </ac:spMkLst>
        </pc:spChg>
        <pc:spChg chg="mod">
          <ac:chgData name="Benoit Gamen" userId="3167fb2a-19f8-4990-bda3-c7be9157474f" providerId="ADAL" clId="{D1C4564D-51E3-40DC-AB5F-6ACEC06E67E3}" dt="2020-06-09T08:44:25.023" v="205" actId="14100"/>
          <ac:spMkLst>
            <pc:docMk/>
            <pc:sldMk cId="3676314414" sldId="412"/>
            <ac:spMk id="49" creationId="{00000000-0000-0000-0000-000000000000}"/>
          </ac:spMkLst>
        </pc:spChg>
        <pc:spChg chg="mod">
          <ac:chgData name="Benoit Gamen" userId="3167fb2a-19f8-4990-bda3-c7be9157474f" providerId="ADAL" clId="{D1C4564D-51E3-40DC-AB5F-6ACEC06E67E3}" dt="2020-06-09T08:38:08.228" v="68" actId="20577"/>
          <ac:spMkLst>
            <pc:docMk/>
            <pc:sldMk cId="3676314414" sldId="412"/>
            <ac:spMk id="50" creationId="{00000000-0000-0000-0000-000000000000}"/>
          </ac:spMkLst>
        </pc:spChg>
        <pc:spChg chg="mod">
          <ac:chgData name="Benoit Gamen" userId="3167fb2a-19f8-4990-bda3-c7be9157474f" providerId="ADAL" clId="{D1C4564D-51E3-40DC-AB5F-6ACEC06E67E3}" dt="2020-06-09T08:34:38.602" v="40" actId="20577"/>
          <ac:spMkLst>
            <pc:docMk/>
            <pc:sldMk cId="3676314414" sldId="412"/>
            <ac:spMk id="54" creationId="{00000000-0000-0000-0000-000000000000}"/>
          </ac:spMkLst>
        </pc:spChg>
        <pc:spChg chg="mod">
          <ac:chgData name="Benoit Gamen" userId="3167fb2a-19f8-4990-bda3-c7be9157474f" providerId="ADAL" clId="{D1C4564D-51E3-40DC-AB5F-6ACEC06E67E3}" dt="2020-06-09T08:38:51.327" v="90" actId="20577"/>
          <ac:spMkLst>
            <pc:docMk/>
            <pc:sldMk cId="3676314414" sldId="412"/>
            <ac:spMk id="55" creationId="{00000000-0000-0000-0000-000000000000}"/>
          </ac:spMkLst>
        </pc:spChg>
      </pc:sldChg>
      <pc:sldChg chg="addSp delSp modSp add">
        <pc:chgData name="Benoit Gamen" userId="3167fb2a-19f8-4990-bda3-c7be9157474f" providerId="ADAL" clId="{D1C4564D-51E3-40DC-AB5F-6ACEC06E67E3}" dt="2020-06-09T09:12:50.643" v="476" actId="1037"/>
        <pc:sldMkLst>
          <pc:docMk/>
          <pc:sldMk cId="3248765446" sldId="413"/>
        </pc:sldMkLst>
        <pc:graphicFrameChg chg="del modGraphic">
          <ac:chgData name="Benoit Gamen" userId="3167fb2a-19f8-4990-bda3-c7be9157474f" providerId="ADAL" clId="{D1C4564D-51E3-40DC-AB5F-6ACEC06E67E3}" dt="2020-06-09T08:41:33.635" v="113" actId="478"/>
          <ac:graphicFrameMkLst>
            <pc:docMk/>
            <pc:sldMk cId="3248765446" sldId="413"/>
            <ac:graphicFrameMk id="13" creationId="{00000000-0000-0000-0000-000000000000}"/>
          </ac:graphicFrameMkLst>
        </pc:graphicFrameChg>
        <pc:graphicFrameChg chg="mod modGraphic">
          <ac:chgData name="Benoit Gamen" userId="3167fb2a-19f8-4990-bda3-c7be9157474f" providerId="ADAL" clId="{D1C4564D-51E3-40DC-AB5F-6ACEC06E67E3}" dt="2020-06-09T09:06:01.920" v="352" actId="404"/>
          <ac:graphicFrameMkLst>
            <pc:docMk/>
            <pc:sldMk cId="3248765446" sldId="413"/>
            <ac:graphicFrameMk id="26" creationId="{00000000-0000-0000-0000-000000000000}"/>
          </ac:graphicFrameMkLst>
        </pc:graphicFrameChg>
        <pc:graphicFrameChg chg="mod modGraphic">
          <ac:chgData name="Benoit Gamen" userId="3167fb2a-19f8-4990-bda3-c7be9157474f" providerId="ADAL" clId="{D1C4564D-51E3-40DC-AB5F-6ACEC06E67E3}" dt="2020-06-09T09:06:08.179" v="353" actId="255"/>
          <ac:graphicFrameMkLst>
            <pc:docMk/>
            <pc:sldMk cId="3248765446" sldId="413"/>
            <ac:graphicFrameMk id="36" creationId="{00000000-0000-0000-0000-000000000000}"/>
          </ac:graphicFrameMkLst>
        </pc:graphicFrameChg>
        <pc:graphicFrameChg chg="add mod modGraphic">
          <ac:chgData name="Benoit Gamen" userId="3167fb2a-19f8-4990-bda3-c7be9157474f" providerId="ADAL" clId="{D1C4564D-51E3-40DC-AB5F-6ACEC06E67E3}" dt="2020-06-09T09:05:53.798" v="351" actId="255"/>
          <ac:graphicFrameMkLst>
            <pc:docMk/>
            <pc:sldMk cId="3248765446" sldId="413"/>
            <ac:graphicFrameMk id="42" creationId="{E1B9A75F-FAA7-4035-9AAF-4B7401EF3E6B}"/>
          </ac:graphicFrameMkLst>
        </pc:graphicFrameChg>
        <pc:picChg chg="del">
          <ac:chgData name="Benoit Gamen" userId="3167fb2a-19f8-4990-bda3-c7be9157474f" providerId="ADAL" clId="{D1C4564D-51E3-40DC-AB5F-6ACEC06E67E3}" dt="2020-06-09T08:41:31.082" v="112" actId="478"/>
          <ac:picMkLst>
            <pc:docMk/>
            <pc:sldMk cId="3248765446" sldId="413"/>
            <ac:picMk id="21" creationId="{00000000-0000-0000-0000-000000000000}"/>
          </ac:picMkLst>
        </pc:picChg>
        <pc:picChg chg="del">
          <ac:chgData name="Benoit Gamen" userId="3167fb2a-19f8-4990-bda3-c7be9157474f" providerId="ADAL" clId="{D1C4564D-51E3-40DC-AB5F-6ACEC06E67E3}" dt="2020-06-09T08:41:31.082" v="112" actId="478"/>
          <ac:picMkLst>
            <pc:docMk/>
            <pc:sldMk cId="3248765446" sldId="413"/>
            <ac:picMk id="22" creationId="{00000000-0000-0000-0000-000000000000}"/>
          </ac:picMkLst>
        </pc:picChg>
        <pc:picChg chg="del">
          <ac:chgData name="Benoit Gamen" userId="3167fb2a-19f8-4990-bda3-c7be9157474f" providerId="ADAL" clId="{D1C4564D-51E3-40DC-AB5F-6ACEC06E67E3}" dt="2020-06-09T08:41:31.082" v="112" actId="478"/>
          <ac:picMkLst>
            <pc:docMk/>
            <pc:sldMk cId="3248765446" sldId="413"/>
            <ac:picMk id="23" creationId="{00000000-0000-0000-0000-000000000000}"/>
          </ac:picMkLst>
        </pc:picChg>
        <pc:picChg chg="del">
          <ac:chgData name="Benoit Gamen" userId="3167fb2a-19f8-4990-bda3-c7be9157474f" providerId="ADAL" clId="{D1C4564D-51E3-40DC-AB5F-6ACEC06E67E3}" dt="2020-06-09T08:41:31.082" v="112" actId="478"/>
          <ac:picMkLst>
            <pc:docMk/>
            <pc:sldMk cId="3248765446" sldId="413"/>
            <ac:picMk id="24" creationId="{00000000-0000-0000-0000-000000000000}"/>
          </ac:picMkLst>
        </pc:picChg>
        <pc:picChg chg="del">
          <ac:chgData name="Benoit Gamen" userId="3167fb2a-19f8-4990-bda3-c7be9157474f" providerId="ADAL" clId="{D1C4564D-51E3-40DC-AB5F-6ACEC06E67E3}" dt="2020-06-09T08:41:31.082" v="112" actId="478"/>
          <ac:picMkLst>
            <pc:docMk/>
            <pc:sldMk cId="3248765446" sldId="413"/>
            <ac:picMk id="25" creationId="{00000000-0000-0000-0000-000000000000}"/>
          </ac:picMkLst>
        </pc:picChg>
        <pc:picChg chg="mod">
          <ac:chgData name="Benoit Gamen" userId="3167fb2a-19f8-4990-bda3-c7be9157474f" providerId="ADAL" clId="{D1C4564D-51E3-40DC-AB5F-6ACEC06E67E3}" dt="2020-06-09T09:09:31.103" v="374" actId="1038"/>
          <ac:picMkLst>
            <pc:docMk/>
            <pc:sldMk cId="3248765446" sldId="413"/>
            <ac:picMk id="27" creationId="{00000000-0000-0000-0000-000000000000}"/>
          </ac:picMkLst>
        </pc:picChg>
        <pc:picChg chg="mod">
          <ac:chgData name="Benoit Gamen" userId="3167fb2a-19f8-4990-bda3-c7be9157474f" providerId="ADAL" clId="{D1C4564D-51E3-40DC-AB5F-6ACEC06E67E3}" dt="2020-06-09T09:09:35.309" v="379" actId="1038"/>
          <ac:picMkLst>
            <pc:docMk/>
            <pc:sldMk cId="3248765446" sldId="413"/>
            <ac:picMk id="28" creationId="{00000000-0000-0000-0000-000000000000}"/>
          </ac:picMkLst>
        </pc:picChg>
        <pc:picChg chg="mod">
          <ac:chgData name="Benoit Gamen" userId="3167fb2a-19f8-4990-bda3-c7be9157474f" providerId="ADAL" clId="{D1C4564D-51E3-40DC-AB5F-6ACEC06E67E3}" dt="2020-06-09T09:09:39.529" v="385" actId="1038"/>
          <ac:picMkLst>
            <pc:docMk/>
            <pc:sldMk cId="3248765446" sldId="413"/>
            <ac:picMk id="29" creationId="{00000000-0000-0000-0000-000000000000}"/>
          </ac:picMkLst>
        </pc:picChg>
        <pc:picChg chg="mod">
          <ac:chgData name="Benoit Gamen" userId="3167fb2a-19f8-4990-bda3-c7be9157474f" providerId="ADAL" clId="{D1C4564D-51E3-40DC-AB5F-6ACEC06E67E3}" dt="2020-06-09T09:09:43.245" v="389" actId="1038"/>
          <ac:picMkLst>
            <pc:docMk/>
            <pc:sldMk cId="3248765446" sldId="413"/>
            <ac:picMk id="30" creationId="{00000000-0000-0000-0000-000000000000}"/>
          </ac:picMkLst>
        </pc:picChg>
        <pc:picChg chg="mod modCrop">
          <ac:chgData name="Benoit Gamen" userId="3167fb2a-19f8-4990-bda3-c7be9157474f" providerId="ADAL" clId="{D1C4564D-51E3-40DC-AB5F-6ACEC06E67E3}" dt="2020-06-09T09:12:19.428" v="436" actId="1035"/>
          <ac:picMkLst>
            <pc:docMk/>
            <pc:sldMk cId="3248765446" sldId="413"/>
            <ac:picMk id="31" creationId="{00000000-0000-0000-0000-000000000000}"/>
          </ac:picMkLst>
        </pc:picChg>
        <pc:picChg chg="mod modCrop">
          <ac:chgData name="Benoit Gamen" userId="3167fb2a-19f8-4990-bda3-c7be9157474f" providerId="ADAL" clId="{D1C4564D-51E3-40DC-AB5F-6ACEC06E67E3}" dt="2020-06-09T09:12:27.376" v="442" actId="1037"/>
          <ac:picMkLst>
            <pc:docMk/>
            <pc:sldMk cId="3248765446" sldId="413"/>
            <ac:picMk id="32" creationId="{00000000-0000-0000-0000-000000000000}"/>
          </ac:picMkLst>
        </pc:picChg>
        <pc:picChg chg="mod">
          <ac:chgData name="Benoit Gamen" userId="3167fb2a-19f8-4990-bda3-c7be9157474f" providerId="ADAL" clId="{D1C4564D-51E3-40DC-AB5F-6ACEC06E67E3}" dt="2020-06-09T09:12:19.428" v="436" actId="1035"/>
          <ac:picMkLst>
            <pc:docMk/>
            <pc:sldMk cId="3248765446" sldId="413"/>
            <ac:picMk id="33" creationId="{00000000-0000-0000-0000-000000000000}"/>
          </ac:picMkLst>
        </pc:picChg>
        <pc:picChg chg="mod">
          <ac:chgData name="Benoit Gamen" userId="3167fb2a-19f8-4990-bda3-c7be9157474f" providerId="ADAL" clId="{D1C4564D-51E3-40DC-AB5F-6ACEC06E67E3}" dt="2020-06-09T09:12:36.748" v="458" actId="1038"/>
          <ac:picMkLst>
            <pc:docMk/>
            <pc:sldMk cId="3248765446" sldId="413"/>
            <ac:picMk id="34" creationId="{00000000-0000-0000-0000-000000000000}"/>
          </ac:picMkLst>
        </pc:picChg>
        <pc:picChg chg="mod">
          <ac:chgData name="Benoit Gamen" userId="3167fb2a-19f8-4990-bda3-c7be9157474f" providerId="ADAL" clId="{D1C4564D-51E3-40DC-AB5F-6ACEC06E67E3}" dt="2020-06-09T09:12:32.480" v="455" actId="1038"/>
          <ac:picMkLst>
            <pc:docMk/>
            <pc:sldMk cId="3248765446" sldId="413"/>
            <ac:picMk id="35" creationId="{00000000-0000-0000-0000-000000000000}"/>
          </ac:picMkLst>
        </pc:picChg>
        <pc:picChg chg="add mod">
          <ac:chgData name="Benoit Gamen" userId="3167fb2a-19f8-4990-bda3-c7be9157474f" providerId="ADAL" clId="{D1C4564D-51E3-40DC-AB5F-6ACEC06E67E3}" dt="2020-06-09T08:41:39.874" v="160" actId="1035"/>
          <ac:picMkLst>
            <pc:docMk/>
            <pc:sldMk cId="3248765446" sldId="413"/>
            <ac:picMk id="37" creationId="{0E0224B0-7460-4FAD-A6E2-565D35A079EE}"/>
          </ac:picMkLst>
        </pc:picChg>
        <pc:picChg chg="add mod">
          <ac:chgData name="Benoit Gamen" userId="3167fb2a-19f8-4990-bda3-c7be9157474f" providerId="ADAL" clId="{D1C4564D-51E3-40DC-AB5F-6ACEC06E67E3}" dt="2020-06-09T08:41:39.874" v="160" actId="1035"/>
          <ac:picMkLst>
            <pc:docMk/>
            <pc:sldMk cId="3248765446" sldId="413"/>
            <ac:picMk id="38" creationId="{617C3EA6-6EC7-4BF7-A673-809A6FB5D903}"/>
          </ac:picMkLst>
        </pc:picChg>
        <pc:picChg chg="add mod">
          <ac:chgData name="Benoit Gamen" userId="3167fb2a-19f8-4990-bda3-c7be9157474f" providerId="ADAL" clId="{D1C4564D-51E3-40DC-AB5F-6ACEC06E67E3}" dt="2020-06-09T08:41:39.874" v="160" actId="1035"/>
          <ac:picMkLst>
            <pc:docMk/>
            <pc:sldMk cId="3248765446" sldId="413"/>
            <ac:picMk id="39" creationId="{180EAA4C-A54C-4CC2-9690-84B425F588F9}"/>
          </ac:picMkLst>
        </pc:picChg>
        <pc:picChg chg="add mod">
          <ac:chgData name="Benoit Gamen" userId="3167fb2a-19f8-4990-bda3-c7be9157474f" providerId="ADAL" clId="{D1C4564D-51E3-40DC-AB5F-6ACEC06E67E3}" dt="2020-06-09T08:41:39.874" v="160" actId="1035"/>
          <ac:picMkLst>
            <pc:docMk/>
            <pc:sldMk cId="3248765446" sldId="413"/>
            <ac:picMk id="40" creationId="{BDF05278-CF62-4E64-A0DE-F6FA8EA6ACEC}"/>
          </ac:picMkLst>
        </pc:picChg>
        <pc:picChg chg="add mod">
          <ac:chgData name="Benoit Gamen" userId="3167fb2a-19f8-4990-bda3-c7be9157474f" providerId="ADAL" clId="{D1C4564D-51E3-40DC-AB5F-6ACEC06E67E3}" dt="2020-06-09T08:41:39.874" v="160" actId="1035"/>
          <ac:picMkLst>
            <pc:docMk/>
            <pc:sldMk cId="3248765446" sldId="413"/>
            <ac:picMk id="41" creationId="{3A5B5C6F-A5A6-4615-B212-1578B4EE1D9B}"/>
          </ac:picMkLst>
        </pc:picChg>
        <pc:picChg chg="add mod">
          <ac:chgData name="Benoit Gamen" userId="3167fb2a-19f8-4990-bda3-c7be9157474f" providerId="ADAL" clId="{D1C4564D-51E3-40DC-AB5F-6ACEC06E67E3}" dt="2020-06-09T08:41:39.874" v="160" actId="1035"/>
          <ac:picMkLst>
            <pc:docMk/>
            <pc:sldMk cId="3248765446" sldId="413"/>
            <ac:picMk id="43" creationId="{76BABC01-EDF7-495C-B32B-0A1DA4239FF6}"/>
          </ac:picMkLst>
        </pc:picChg>
        <pc:picChg chg="add mod">
          <ac:chgData name="Benoit Gamen" userId="3167fb2a-19f8-4990-bda3-c7be9157474f" providerId="ADAL" clId="{D1C4564D-51E3-40DC-AB5F-6ACEC06E67E3}" dt="2020-06-09T08:41:39.874" v="160" actId="1035"/>
          <ac:picMkLst>
            <pc:docMk/>
            <pc:sldMk cId="3248765446" sldId="413"/>
            <ac:picMk id="44" creationId="{0C4834D8-0C05-43E4-86E5-C402895E5702}"/>
          </ac:picMkLst>
        </pc:picChg>
        <pc:picChg chg="add mod">
          <ac:chgData name="Benoit Gamen" userId="3167fb2a-19f8-4990-bda3-c7be9157474f" providerId="ADAL" clId="{D1C4564D-51E3-40DC-AB5F-6ACEC06E67E3}" dt="2020-06-09T08:41:39.874" v="160" actId="1035"/>
          <ac:picMkLst>
            <pc:docMk/>
            <pc:sldMk cId="3248765446" sldId="413"/>
            <ac:picMk id="45" creationId="{8B8B1378-B302-4F9C-88B7-EDAAF98F8BC6}"/>
          </ac:picMkLst>
        </pc:picChg>
        <pc:picChg chg="add mod">
          <ac:chgData name="Benoit Gamen" userId="3167fb2a-19f8-4990-bda3-c7be9157474f" providerId="ADAL" clId="{D1C4564D-51E3-40DC-AB5F-6ACEC06E67E3}" dt="2020-06-09T09:12:41.503" v="465" actId="1038"/>
          <ac:picMkLst>
            <pc:docMk/>
            <pc:sldMk cId="3248765446" sldId="413"/>
            <ac:picMk id="46" creationId="{9131417F-4A18-4236-98C2-4ABF06938782}"/>
          </ac:picMkLst>
        </pc:picChg>
        <pc:picChg chg="add mod modCrop">
          <ac:chgData name="Benoit Gamen" userId="3167fb2a-19f8-4990-bda3-c7be9157474f" providerId="ADAL" clId="{D1C4564D-51E3-40DC-AB5F-6ACEC06E67E3}" dt="2020-06-09T09:12:46.692" v="472" actId="1037"/>
          <ac:picMkLst>
            <pc:docMk/>
            <pc:sldMk cId="3248765446" sldId="413"/>
            <ac:picMk id="47" creationId="{75A7540F-8700-425E-ABDA-8EA47210B76B}"/>
          </ac:picMkLst>
        </pc:picChg>
        <pc:picChg chg="add mod modCrop">
          <ac:chgData name="Benoit Gamen" userId="3167fb2a-19f8-4990-bda3-c7be9157474f" providerId="ADAL" clId="{D1C4564D-51E3-40DC-AB5F-6ACEC06E67E3}" dt="2020-06-09T09:12:50.643" v="476" actId="1037"/>
          <ac:picMkLst>
            <pc:docMk/>
            <pc:sldMk cId="3248765446" sldId="413"/>
            <ac:picMk id="48" creationId="{51D3BEB5-9DEE-4F43-AD70-8C05F81CCDC8}"/>
          </ac:picMkLst>
        </pc:picChg>
        <pc:picChg chg="add mod modCrop">
          <ac:chgData name="Benoit Gamen" userId="3167fb2a-19f8-4990-bda3-c7be9157474f" providerId="ADAL" clId="{D1C4564D-51E3-40DC-AB5F-6ACEC06E67E3}" dt="2020-06-09T09:12:19.428" v="436" actId="1035"/>
          <ac:picMkLst>
            <pc:docMk/>
            <pc:sldMk cId="3248765446" sldId="413"/>
            <ac:picMk id="49" creationId="{6B329162-057E-44AB-9F5E-7E2E39FA74D9}"/>
          </ac:picMkLst>
        </pc:picChg>
      </pc:sldChg>
      <pc:sldChg chg="modSp add">
        <pc:chgData name="Benoit Gamen" userId="3167fb2a-19f8-4990-bda3-c7be9157474f" providerId="ADAL" clId="{D1C4564D-51E3-40DC-AB5F-6ACEC06E67E3}" dt="2020-06-17T08:19:09.631" v="647" actId="20577"/>
        <pc:sldMkLst>
          <pc:docMk/>
          <pc:sldMk cId="370191965" sldId="414"/>
        </pc:sldMkLst>
        <pc:spChg chg="mod">
          <ac:chgData name="Benoit Gamen" userId="3167fb2a-19f8-4990-bda3-c7be9157474f" providerId="ADAL" clId="{D1C4564D-51E3-40DC-AB5F-6ACEC06E67E3}" dt="2020-06-17T08:19:09.631" v="647" actId="20577"/>
          <ac:spMkLst>
            <pc:docMk/>
            <pc:sldMk cId="370191965" sldId="414"/>
            <ac:spMk id="2" creationId="{00000000-0000-0000-0000-000000000000}"/>
          </ac:spMkLst>
        </pc:spChg>
      </pc:sldChg>
      <pc:sldChg chg="modSp add">
        <pc:chgData name="Benoit Gamen" userId="3167fb2a-19f8-4990-bda3-c7be9157474f" providerId="ADAL" clId="{D1C4564D-51E3-40DC-AB5F-6ACEC06E67E3}" dt="2020-06-17T08:19:30.190" v="666" actId="20577"/>
        <pc:sldMkLst>
          <pc:docMk/>
          <pc:sldMk cId="1528371061" sldId="415"/>
        </pc:sldMkLst>
        <pc:spChg chg="mod">
          <ac:chgData name="Benoit Gamen" userId="3167fb2a-19f8-4990-bda3-c7be9157474f" providerId="ADAL" clId="{D1C4564D-51E3-40DC-AB5F-6ACEC06E67E3}" dt="2020-06-17T08:19:30.190" v="666" actId="20577"/>
          <ac:spMkLst>
            <pc:docMk/>
            <pc:sldMk cId="1528371061" sldId="415"/>
            <ac:spMk id="2" creationId="{00000000-0000-0000-0000-000000000000}"/>
          </ac:spMkLst>
        </pc:spChg>
      </pc:sldChg>
      <pc:sldChg chg="modSp add">
        <pc:chgData name="Benoit Gamen" userId="3167fb2a-19f8-4990-bda3-c7be9157474f" providerId="ADAL" clId="{D1C4564D-51E3-40DC-AB5F-6ACEC06E67E3}" dt="2020-06-17T08:19:47.963" v="679" actId="20577"/>
        <pc:sldMkLst>
          <pc:docMk/>
          <pc:sldMk cId="1449019803" sldId="416"/>
        </pc:sldMkLst>
        <pc:spChg chg="mod">
          <ac:chgData name="Benoit Gamen" userId="3167fb2a-19f8-4990-bda3-c7be9157474f" providerId="ADAL" clId="{D1C4564D-51E3-40DC-AB5F-6ACEC06E67E3}" dt="2020-06-17T08:19:47.963" v="679" actId="20577"/>
          <ac:spMkLst>
            <pc:docMk/>
            <pc:sldMk cId="1449019803" sldId="416"/>
            <ac:spMk id="2" creationId="{00000000-0000-0000-0000-000000000000}"/>
          </ac:spMkLst>
        </pc:spChg>
      </pc:sldChg>
    </pc:docChg>
  </pc:docChgLst>
  <pc:docChgLst>
    <pc:chgData name="Benoit Gamen" userId="3167fb2a-19f8-4990-bda3-c7be9157474f" providerId="ADAL" clId="{920182EE-09E4-4F21-92C6-D9D95488E7ED}"/>
    <pc:docChg chg="undo custSel addSld delSld modSld sldOrd">
      <pc:chgData name="Benoit Gamen" userId="3167fb2a-19f8-4990-bda3-c7be9157474f" providerId="ADAL" clId="{920182EE-09E4-4F21-92C6-D9D95488E7ED}" dt="2020-06-03T13:54:30.446" v="600" actId="20577"/>
      <pc:docMkLst>
        <pc:docMk/>
      </pc:docMkLst>
      <pc:sldChg chg="addSp modSp del">
        <pc:chgData name="Benoit Gamen" userId="3167fb2a-19f8-4990-bda3-c7be9157474f" providerId="ADAL" clId="{920182EE-09E4-4F21-92C6-D9D95488E7ED}" dt="2020-06-03T13:54:00.701" v="595" actId="2696"/>
        <pc:sldMkLst>
          <pc:docMk/>
          <pc:sldMk cId="2541229807" sldId="355"/>
        </pc:sldMkLst>
        <pc:spChg chg="add mod">
          <ac:chgData name="Benoit Gamen" userId="3167fb2a-19f8-4990-bda3-c7be9157474f" providerId="ADAL" clId="{920182EE-09E4-4F21-92C6-D9D95488E7ED}" dt="2020-06-03T13:39:19.572" v="585" actId="767"/>
          <ac:spMkLst>
            <pc:docMk/>
            <pc:sldMk cId="2541229807" sldId="355"/>
            <ac:spMk id="2" creationId="{6F880C43-10D4-4426-A25C-38F644272BF4}"/>
          </ac:spMkLst>
        </pc:spChg>
      </pc:sldChg>
      <pc:sldChg chg="del">
        <pc:chgData name="Benoit Gamen" userId="3167fb2a-19f8-4990-bda3-c7be9157474f" providerId="ADAL" clId="{920182EE-09E4-4F21-92C6-D9D95488E7ED}" dt="2020-06-03T13:53:59.170" v="594" actId="2696"/>
        <pc:sldMkLst>
          <pc:docMk/>
          <pc:sldMk cId="1522855188" sldId="356"/>
        </pc:sldMkLst>
      </pc:sldChg>
      <pc:sldChg chg="del">
        <pc:chgData name="Benoit Gamen" userId="3167fb2a-19f8-4990-bda3-c7be9157474f" providerId="ADAL" clId="{920182EE-09E4-4F21-92C6-D9D95488E7ED}" dt="2020-06-03T13:43:49.356" v="586" actId="2696"/>
        <pc:sldMkLst>
          <pc:docMk/>
          <pc:sldMk cId="2408956873" sldId="360"/>
        </pc:sldMkLst>
      </pc:sldChg>
      <pc:sldChg chg="add del">
        <pc:chgData name="Benoit Gamen" userId="3167fb2a-19f8-4990-bda3-c7be9157474f" providerId="ADAL" clId="{920182EE-09E4-4F21-92C6-D9D95488E7ED}" dt="2020-06-03T13:48:12.957" v="591" actId="2696"/>
        <pc:sldMkLst>
          <pc:docMk/>
          <pc:sldMk cId="1393427285" sldId="367"/>
        </pc:sldMkLst>
      </pc:sldChg>
      <pc:sldChg chg="del">
        <pc:chgData name="Benoit Gamen" userId="3167fb2a-19f8-4990-bda3-c7be9157474f" providerId="ADAL" clId="{920182EE-09E4-4F21-92C6-D9D95488E7ED}" dt="2020-06-03T13:46:57.801" v="587" actId="2696"/>
        <pc:sldMkLst>
          <pc:docMk/>
          <pc:sldMk cId="657582881" sldId="371"/>
        </pc:sldMkLst>
      </pc:sldChg>
      <pc:sldChg chg="del">
        <pc:chgData name="Benoit Gamen" userId="3167fb2a-19f8-4990-bda3-c7be9157474f" providerId="ADAL" clId="{920182EE-09E4-4F21-92C6-D9D95488E7ED}" dt="2020-06-03T13:47:56.541" v="589" actId="2696"/>
        <pc:sldMkLst>
          <pc:docMk/>
          <pc:sldMk cId="1796326919" sldId="373"/>
        </pc:sldMkLst>
      </pc:sldChg>
      <pc:sldChg chg="del">
        <pc:chgData name="Benoit Gamen" userId="3167fb2a-19f8-4990-bda3-c7be9157474f" providerId="ADAL" clId="{920182EE-09E4-4F21-92C6-D9D95488E7ED}" dt="2020-06-03T13:47:54.406" v="588" actId="2696"/>
        <pc:sldMkLst>
          <pc:docMk/>
          <pc:sldMk cId="3589491113" sldId="374"/>
        </pc:sldMkLst>
      </pc:sldChg>
      <pc:sldChg chg="ord">
        <pc:chgData name="Benoit Gamen" userId="3167fb2a-19f8-4990-bda3-c7be9157474f" providerId="ADAL" clId="{920182EE-09E4-4F21-92C6-D9D95488E7ED}" dt="2020-06-03T11:59:10.654" v="226"/>
        <pc:sldMkLst>
          <pc:docMk/>
          <pc:sldMk cId="120703535" sldId="385"/>
        </pc:sldMkLst>
      </pc:sldChg>
      <pc:sldChg chg="del">
        <pc:chgData name="Benoit Gamen" userId="3167fb2a-19f8-4990-bda3-c7be9157474f" providerId="ADAL" clId="{920182EE-09E4-4F21-92C6-D9D95488E7ED}" dt="2020-06-03T13:50:55.283" v="592" actId="2696"/>
        <pc:sldMkLst>
          <pc:docMk/>
          <pc:sldMk cId="4030533397" sldId="386"/>
        </pc:sldMkLst>
      </pc:sldChg>
      <pc:sldChg chg="addSp delSp modSp ord">
        <pc:chgData name="Benoit Gamen" userId="3167fb2a-19f8-4990-bda3-c7be9157474f" providerId="ADAL" clId="{920182EE-09E4-4F21-92C6-D9D95488E7ED}" dt="2020-06-03T12:20:05.411" v="584"/>
        <pc:sldMkLst>
          <pc:docMk/>
          <pc:sldMk cId="1525326796" sldId="390"/>
        </pc:sldMkLst>
        <pc:spChg chg="mod">
          <ac:chgData name="Benoit Gamen" userId="3167fb2a-19f8-4990-bda3-c7be9157474f" providerId="ADAL" clId="{920182EE-09E4-4F21-92C6-D9D95488E7ED}" dt="2020-06-03T11:54:41.185" v="225" actId="20577"/>
          <ac:spMkLst>
            <pc:docMk/>
            <pc:sldMk cId="1525326796" sldId="390"/>
            <ac:spMk id="6" creationId="{00000000-0000-0000-0000-000000000000}"/>
          </ac:spMkLst>
        </pc:spChg>
        <pc:spChg chg="add del mod">
          <ac:chgData name="Benoit Gamen" userId="3167fb2a-19f8-4990-bda3-c7be9157474f" providerId="ADAL" clId="{920182EE-09E4-4F21-92C6-D9D95488E7ED}" dt="2020-06-03T11:59:22.411" v="228" actId="478"/>
          <ac:spMkLst>
            <pc:docMk/>
            <pc:sldMk cId="1525326796" sldId="390"/>
            <ac:spMk id="14" creationId="{B50D1635-2620-4BC7-9692-8B81EECA8B86}"/>
          </ac:spMkLst>
        </pc:spChg>
        <pc:spChg chg="add del mod">
          <ac:chgData name="Benoit Gamen" userId="3167fb2a-19f8-4990-bda3-c7be9157474f" providerId="ADAL" clId="{920182EE-09E4-4F21-92C6-D9D95488E7ED}" dt="2020-06-03T11:59:49.953" v="230" actId="478"/>
          <ac:spMkLst>
            <pc:docMk/>
            <pc:sldMk cId="1525326796" sldId="390"/>
            <ac:spMk id="21" creationId="{2A1E61F2-3EBD-4ECD-BFB0-7242C9777D2A}"/>
          </ac:spMkLst>
        </pc:spChg>
        <pc:spChg chg="del">
          <ac:chgData name="Benoit Gamen" userId="3167fb2a-19f8-4990-bda3-c7be9157474f" providerId="ADAL" clId="{920182EE-09E4-4F21-92C6-D9D95488E7ED}" dt="2020-06-03T11:59:20.303" v="227" actId="478"/>
          <ac:spMkLst>
            <pc:docMk/>
            <pc:sldMk cId="1525326796" sldId="390"/>
            <ac:spMk id="64" creationId="{00000000-0000-0000-0000-000000000000}"/>
          </ac:spMkLst>
        </pc:spChg>
        <pc:graphicFrameChg chg="mod modGraphic">
          <ac:chgData name="Benoit Gamen" userId="3167fb2a-19f8-4990-bda3-c7be9157474f" providerId="ADAL" clId="{920182EE-09E4-4F21-92C6-D9D95488E7ED}" dt="2020-06-03T11:59:55.390" v="248" actId="1035"/>
          <ac:graphicFrameMkLst>
            <pc:docMk/>
            <pc:sldMk cId="1525326796" sldId="390"/>
            <ac:graphicFrameMk id="13" creationId="{00000000-0000-0000-0000-000000000000}"/>
          </ac:graphicFrameMkLst>
        </pc:graphicFrameChg>
        <pc:graphicFrameChg chg="del">
          <ac:chgData name="Benoit Gamen" userId="3167fb2a-19f8-4990-bda3-c7be9157474f" providerId="ADAL" clId="{920182EE-09E4-4F21-92C6-D9D95488E7ED}" dt="2020-06-03T11:17:28.681" v="136" actId="478"/>
          <ac:graphicFrameMkLst>
            <pc:docMk/>
            <pc:sldMk cId="1525326796" sldId="390"/>
            <ac:graphicFrameMk id="20" creationId="{00000000-0000-0000-0000-000000000000}"/>
          </ac:graphicFrameMkLst>
        </pc:graphicFrameChg>
        <pc:picChg chg="mod">
          <ac:chgData name="Benoit Gamen" userId="3167fb2a-19f8-4990-bda3-c7be9157474f" providerId="ADAL" clId="{920182EE-09E4-4F21-92C6-D9D95488E7ED}" dt="2020-06-03T11:59:55.390" v="248" actId="1035"/>
          <ac:picMkLst>
            <pc:docMk/>
            <pc:sldMk cId="1525326796" sldId="390"/>
            <ac:picMk id="8" creationId="{00000000-0000-0000-0000-000000000000}"/>
          </ac:picMkLst>
        </pc:picChg>
        <pc:picChg chg="mod">
          <ac:chgData name="Benoit Gamen" userId="3167fb2a-19f8-4990-bda3-c7be9157474f" providerId="ADAL" clId="{920182EE-09E4-4F21-92C6-D9D95488E7ED}" dt="2020-06-03T11:59:55.390" v="248" actId="1035"/>
          <ac:picMkLst>
            <pc:docMk/>
            <pc:sldMk cId="1525326796" sldId="390"/>
            <ac:picMk id="9" creationId="{00000000-0000-0000-0000-000000000000}"/>
          </ac:picMkLst>
        </pc:picChg>
        <pc:picChg chg="mod">
          <ac:chgData name="Benoit Gamen" userId="3167fb2a-19f8-4990-bda3-c7be9157474f" providerId="ADAL" clId="{920182EE-09E4-4F21-92C6-D9D95488E7ED}" dt="2020-06-03T11:59:55.390" v="248" actId="1035"/>
          <ac:picMkLst>
            <pc:docMk/>
            <pc:sldMk cId="1525326796" sldId="390"/>
            <ac:picMk id="10" creationId="{00000000-0000-0000-0000-000000000000}"/>
          </ac:picMkLst>
        </pc:picChg>
        <pc:picChg chg="mod">
          <ac:chgData name="Benoit Gamen" userId="3167fb2a-19f8-4990-bda3-c7be9157474f" providerId="ADAL" clId="{920182EE-09E4-4F21-92C6-D9D95488E7ED}" dt="2020-06-03T11:59:55.390" v="248" actId="1035"/>
          <ac:picMkLst>
            <pc:docMk/>
            <pc:sldMk cId="1525326796" sldId="390"/>
            <ac:picMk id="11" creationId="{00000000-0000-0000-0000-000000000000}"/>
          </ac:picMkLst>
        </pc:picChg>
        <pc:picChg chg="mod">
          <ac:chgData name="Benoit Gamen" userId="3167fb2a-19f8-4990-bda3-c7be9157474f" providerId="ADAL" clId="{920182EE-09E4-4F21-92C6-D9D95488E7ED}" dt="2020-06-03T11:59:55.390" v="248" actId="1035"/>
          <ac:picMkLst>
            <pc:docMk/>
            <pc:sldMk cId="1525326796" sldId="390"/>
            <ac:picMk id="12" creationId="{00000000-0000-0000-0000-000000000000}"/>
          </ac:picMkLst>
        </pc:picChg>
        <pc:picChg chg="mod">
          <ac:chgData name="Benoit Gamen" userId="3167fb2a-19f8-4990-bda3-c7be9157474f" providerId="ADAL" clId="{920182EE-09E4-4F21-92C6-D9D95488E7ED}" dt="2020-06-03T11:59:55.390" v="248" actId="1035"/>
          <ac:picMkLst>
            <pc:docMk/>
            <pc:sldMk cId="1525326796" sldId="390"/>
            <ac:picMk id="17" creationId="{00000000-0000-0000-0000-000000000000}"/>
          </ac:picMkLst>
        </pc:picChg>
        <pc:picChg chg="mod">
          <ac:chgData name="Benoit Gamen" userId="3167fb2a-19f8-4990-bda3-c7be9157474f" providerId="ADAL" clId="{920182EE-09E4-4F21-92C6-D9D95488E7ED}" dt="2020-06-03T11:59:55.390" v="248" actId="1035"/>
          <ac:picMkLst>
            <pc:docMk/>
            <pc:sldMk cId="1525326796" sldId="390"/>
            <ac:picMk id="18" creationId="{00000000-0000-0000-0000-000000000000}"/>
          </ac:picMkLst>
        </pc:picChg>
        <pc:picChg chg="mod">
          <ac:chgData name="Benoit Gamen" userId="3167fb2a-19f8-4990-bda3-c7be9157474f" providerId="ADAL" clId="{920182EE-09E4-4F21-92C6-D9D95488E7ED}" dt="2020-06-03T11:59:55.390" v="248" actId="1035"/>
          <ac:picMkLst>
            <pc:docMk/>
            <pc:sldMk cId="1525326796" sldId="390"/>
            <ac:picMk id="19" creationId="{00000000-0000-0000-0000-000000000000}"/>
          </ac:picMkLst>
        </pc:picChg>
      </pc:sldChg>
      <pc:sldChg chg="del">
        <pc:chgData name="Benoit Gamen" userId="3167fb2a-19f8-4990-bda3-c7be9157474f" providerId="ADAL" clId="{920182EE-09E4-4F21-92C6-D9D95488E7ED}" dt="2020-06-03T12:01:33.531" v="249" actId="2696"/>
        <pc:sldMkLst>
          <pc:docMk/>
          <pc:sldMk cId="1507513954" sldId="394"/>
        </pc:sldMkLst>
      </pc:sldChg>
      <pc:sldChg chg="addSp delSp modSp delAnim">
        <pc:chgData name="Benoit Gamen" userId="3167fb2a-19f8-4990-bda3-c7be9157474f" providerId="ADAL" clId="{920182EE-09E4-4F21-92C6-D9D95488E7ED}" dt="2020-06-03T12:19:56.968" v="583" actId="20577"/>
        <pc:sldMkLst>
          <pc:docMk/>
          <pc:sldMk cId="798414340" sldId="397"/>
        </pc:sldMkLst>
        <pc:spChg chg="mod">
          <ac:chgData name="Benoit Gamen" userId="3167fb2a-19f8-4990-bda3-c7be9157474f" providerId="ADAL" clId="{920182EE-09E4-4F21-92C6-D9D95488E7ED}" dt="2020-06-03T12:02:29.134" v="257" actId="20577"/>
          <ac:spMkLst>
            <pc:docMk/>
            <pc:sldMk cId="798414340" sldId="397"/>
            <ac:spMk id="6" creationId="{00000000-0000-0000-0000-000000000000}"/>
          </ac:spMkLst>
        </pc:spChg>
        <pc:spChg chg="del">
          <ac:chgData name="Benoit Gamen" userId="3167fb2a-19f8-4990-bda3-c7be9157474f" providerId="ADAL" clId="{920182EE-09E4-4F21-92C6-D9D95488E7ED}" dt="2020-06-03T12:01:45.923" v="252" actId="478"/>
          <ac:spMkLst>
            <pc:docMk/>
            <pc:sldMk cId="798414340" sldId="397"/>
            <ac:spMk id="10" creationId="{00000000-0000-0000-0000-000000000000}"/>
          </ac:spMkLst>
        </pc:spChg>
        <pc:spChg chg="del">
          <ac:chgData name="Benoit Gamen" userId="3167fb2a-19f8-4990-bda3-c7be9157474f" providerId="ADAL" clId="{920182EE-09E4-4F21-92C6-D9D95488E7ED}" dt="2020-06-03T12:01:44.765" v="251" actId="478"/>
          <ac:spMkLst>
            <pc:docMk/>
            <pc:sldMk cId="798414340" sldId="397"/>
            <ac:spMk id="14" creationId="{00000000-0000-0000-0000-000000000000}"/>
          </ac:spMkLst>
        </pc:spChg>
        <pc:spChg chg="del">
          <ac:chgData name="Benoit Gamen" userId="3167fb2a-19f8-4990-bda3-c7be9157474f" providerId="ADAL" clId="{920182EE-09E4-4F21-92C6-D9D95488E7ED}" dt="2020-06-03T12:07:54.170" v="287" actId="478"/>
          <ac:spMkLst>
            <pc:docMk/>
            <pc:sldMk cId="798414340" sldId="397"/>
            <ac:spMk id="15" creationId="{00000000-0000-0000-0000-000000000000}"/>
          </ac:spMkLst>
        </pc:spChg>
        <pc:spChg chg="del">
          <ac:chgData name="Benoit Gamen" userId="3167fb2a-19f8-4990-bda3-c7be9157474f" providerId="ADAL" clId="{920182EE-09E4-4F21-92C6-D9D95488E7ED}" dt="2020-06-03T12:07:56.885" v="288" actId="478"/>
          <ac:spMkLst>
            <pc:docMk/>
            <pc:sldMk cId="798414340" sldId="397"/>
            <ac:spMk id="20" creationId="{00000000-0000-0000-0000-000000000000}"/>
          </ac:spMkLst>
        </pc:spChg>
        <pc:spChg chg="del">
          <ac:chgData name="Benoit Gamen" userId="3167fb2a-19f8-4990-bda3-c7be9157474f" providerId="ADAL" clId="{920182EE-09E4-4F21-92C6-D9D95488E7ED}" dt="2020-06-03T12:07:56.885" v="288" actId="478"/>
          <ac:spMkLst>
            <pc:docMk/>
            <pc:sldMk cId="798414340" sldId="397"/>
            <ac:spMk id="21" creationId="{00000000-0000-0000-0000-000000000000}"/>
          </ac:spMkLst>
        </pc:spChg>
        <pc:spChg chg="del">
          <ac:chgData name="Benoit Gamen" userId="3167fb2a-19f8-4990-bda3-c7be9157474f" providerId="ADAL" clId="{920182EE-09E4-4F21-92C6-D9D95488E7ED}" dt="2020-06-03T12:07:56.885" v="288" actId="478"/>
          <ac:spMkLst>
            <pc:docMk/>
            <pc:sldMk cId="798414340" sldId="397"/>
            <ac:spMk id="22" creationId="{00000000-0000-0000-0000-000000000000}"/>
          </ac:spMkLst>
        </pc:spChg>
        <pc:spChg chg="del">
          <ac:chgData name="Benoit Gamen" userId="3167fb2a-19f8-4990-bda3-c7be9157474f" providerId="ADAL" clId="{920182EE-09E4-4F21-92C6-D9D95488E7ED}" dt="2020-06-03T12:07:56.885" v="288" actId="478"/>
          <ac:spMkLst>
            <pc:docMk/>
            <pc:sldMk cId="798414340" sldId="397"/>
            <ac:spMk id="23" creationId="{00000000-0000-0000-0000-000000000000}"/>
          </ac:spMkLst>
        </pc:spChg>
        <pc:graphicFrameChg chg="add mod modGraphic">
          <ac:chgData name="Benoit Gamen" userId="3167fb2a-19f8-4990-bda3-c7be9157474f" providerId="ADAL" clId="{920182EE-09E4-4F21-92C6-D9D95488E7ED}" dt="2020-06-03T12:19:56.968" v="583" actId="20577"/>
          <ac:graphicFrameMkLst>
            <pc:docMk/>
            <pc:sldMk cId="798414340" sldId="397"/>
            <ac:graphicFrameMk id="2" creationId="{D97389F5-6EB0-41BA-8E9B-F0F149D4388F}"/>
          </ac:graphicFrameMkLst>
        </pc:graphicFrameChg>
        <pc:picChg chg="del">
          <ac:chgData name="Benoit Gamen" userId="3167fb2a-19f8-4990-bda3-c7be9157474f" providerId="ADAL" clId="{920182EE-09E4-4F21-92C6-D9D95488E7ED}" dt="2020-06-03T12:07:56.885" v="288" actId="478"/>
          <ac:picMkLst>
            <pc:docMk/>
            <pc:sldMk cId="798414340" sldId="397"/>
            <ac:picMk id="8" creationId="{00000000-0000-0000-0000-000000000000}"/>
          </ac:picMkLst>
        </pc:picChg>
        <pc:picChg chg="del">
          <ac:chgData name="Benoit Gamen" userId="3167fb2a-19f8-4990-bda3-c7be9157474f" providerId="ADAL" clId="{920182EE-09E4-4F21-92C6-D9D95488E7ED}" dt="2020-06-03T12:01:42.290" v="250" actId="478"/>
          <ac:picMkLst>
            <pc:docMk/>
            <pc:sldMk cId="798414340" sldId="397"/>
            <ac:picMk id="9" creationId="{00000000-0000-0000-0000-000000000000}"/>
          </ac:picMkLst>
        </pc:picChg>
      </pc:sldChg>
      <pc:sldChg chg="del">
        <pc:chgData name="Benoit Gamen" userId="3167fb2a-19f8-4990-bda3-c7be9157474f" providerId="ADAL" clId="{920182EE-09E4-4F21-92C6-D9D95488E7ED}" dt="2020-06-03T13:53:07.793" v="593" actId="2696"/>
        <pc:sldMkLst>
          <pc:docMk/>
          <pc:sldMk cId="3815937888" sldId="409"/>
        </pc:sldMkLst>
      </pc:sldChg>
      <pc:sldChg chg="modSp">
        <pc:chgData name="Benoit Gamen" userId="3167fb2a-19f8-4990-bda3-c7be9157474f" providerId="ADAL" clId="{920182EE-09E4-4F21-92C6-D9D95488E7ED}" dt="2020-06-03T13:54:30.446" v="600" actId="20577"/>
        <pc:sldMkLst>
          <pc:docMk/>
          <pc:sldMk cId="3676314414" sldId="412"/>
        </pc:sldMkLst>
        <pc:spChg chg="mod">
          <ac:chgData name="Benoit Gamen" userId="3167fb2a-19f8-4990-bda3-c7be9157474f" providerId="ADAL" clId="{920182EE-09E4-4F21-92C6-D9D95488E7ED}" dt="2020-06-03T13:54:30.446" v="600" actId="20577"/>
          <ac:spMkLst>
            <pc:docMk/>
            <pc:sldMk cId="3676314414" sldId="412"/>
            <ac:spMk id="55" creationId="{00000000-0000-0000-0000-000000000000}"/>
          </ac:spMkLst>
        </pc:spChg>
      </pc:sldChg>
    </pc:docChg>
  </pc:docChgLst>
  <pc:docChgLst>
    <pc:chgData name="Benoit Gamen" userId="3167fb2a-19f8-4990-bda3-c7be9157474f" providerId="ADAL" clId="{FC9D79AD-37EE-4C00-869C-13231D019661}"/>
    <pc:docChg chg="undo custSel modSld">
      <pc:chgData name="Benoit Gamen" userId="3167fb2a-19f8-4990-bda3-c7be9157474f" providerId="ADAL" clId="{FC9D79AD-37EE-4C00-869C-13231D019661}" dt="2020-08-31T07:51:19.273" v="287" actId="6549"/>
      <pc:docMkLst>
        <pc:docMk/>
      </pc:docMkLst>
      <pc:sldChg chg="modNotesTx">
        <pc:chgData name="Benoit Gamen" userId="3167fb2a-19f8-4990-bda3-c7be9157474f" providerId="ADAL" clId="{FC9D79AD-37EE-4C00-869C-13231D019661}" dt="2020-08-31T07:51:05.463" v="284" actId="6549"/>
        <pc:sldMkLst>
          <pc:docMk/>
          <pc:sldMk cId="2536071174" sldId="366"/>
        </pc:sldMkLst>
      </pc:sldChg>
      <pc:sldChg chg="modNotesTx">
        <pc:chgData name="Benoit Gamen" userId="3167fb2a-19f8-4990-bda3-c7be9157474f" providerId="ADAL" clId="{FC9D79AD-37EE-4C00-869C-13231D019661}" dt="2020-08-31T07:51:09.881" v="285" actId="6549"/>
        <pc:sldMkLst>
          <pc:docMk/>
          <pc:sldMk cId="1393427285" sldId="367"/>
        </pc:sldMkLst>
      </pc:sldChg>
      <pc:sldChg chg="modSp addCm delCm modCm modNotesTx">
        <pc:chgData name="Benoit Gamen" userId="3167fb2a-19f8-4990-bda3-c7be9157474f" providerId="ADAL" clId="{FC9D79AD-37EE-4C00-869C-13231D019661}" dt="2020-08-31T07:51:15.325" v="286" actId="6549"/>
        <pc:sldMkLst>
          <pc:docMk/>
          <pc:sldMk cId="2344476581" sldId="369"/>
        </pc:sldMkLst>
        <pc:spChg chg="mod">
          <ac:chgData name="Benoit Gamen" userId="3167fb2a-19f8-4990-bda3-c7be9157474f" providerId="ADAL" clId="{FC9D79AD-37EE-4C00-869C-13231D019661}" dt="2020-08-28T07:49:12.350" v="15" actId="20577"/>
          <ac:spMkLst>
            <pc:docMk/>
            <pc:sldMk cId="2344476581" sldId="369"/>
            <ac:spMk id="48" creationId="{00000000-0000-0000-0000-000000000000}"/>
          </ac:spMkLst>
        </pc:spChg>
      </pc:sldChg>
      <pc:sldChg chg="modSp modNotesTx">
        <pc:chgData name="Benoit Gamen" userId="3167fb2a-19f8-4990-bda3-c7be9157474f" providerId="ADAL" clId="{FC9D79AD-37EE-4C00-869C-13231D019661}" dt="2020-08-31T07:51:19.273" v="287" actId="6549"/>
        <pc:sldMkLst>
          <pc:docMk/>
          <pc:sldMk cId="897978664" sldId="370"/>
        </pc:sldMkLst>
        <pc:spChg chg="mod">
          <ac:chgData name="Benoit Gamen" userId="3167fb2a-19f8-4990-bda3-c7be9157474f" providerId="ADAL" clId="{FC9D79AD-37EE-4C00-869C-13231D019661}" dt="2020-08-28T07:48:59.007" v="11" actId="20577"/>
          <ac:spMkLst>
            <pc:docMk/>
            <pc:sldMk cId="897978664" sldId="370"/>
            <ac:spMk id="6" creationId="{00000000-0000-0000-0000-000000000000}"/>
          </ac:spMkLst>
        </pc:spChg>
      </pc:sldChg>
      <pc:sldChg chg="modNotesTx">
        <pc:chgData name="Benoit Gamen" userId="3167fb2a-19f8-4990-bda3-c7be9157474f" providerId="ADAL" clId="{FC9D79AD-37EE-4C00-869C-13231D019661}" dt="2020-08-31T07:50:35.161" v="280" actId="6549"/>
        <pc:sldMkLst>
          <pc:docMk/>
          <pc:sldMk cId="2546297000" sldId="387"/>
        </pc:sldMkLst>
      </pc:sldChg>
      <pc:sldChg chg="modSp addCm delCm modCm modNotesTx">
        <pc:chgData name="Benoit Gamen" userId="3167fb2a-19f8-4990-bda3-c7be9157474f" providerId="ADAL" clId="{FC9D79AD-37EE-4C00-869C-13231D019661}" dt="2020-08-31T07:50:28.318" v="279" actId="6549"/>
        <pc:sldMkLst>
          <pc:docMk/>
          <pc:sldMk cId="1525326796" sldId="390"/>
        </pc:sldMkLst>
        <pc:graphicFrameChg chg="modGraphic">
          <ac:chgData name="Benoit Gamen" userId="3167fb2a-19f8-4990-bda3-c7be9157474f" providerId="ADAL" clId="{FC9D79AD-37EE-4C00-869C-13231D019661}" dt="2020-08-28T07:56:39.312" v="156" actId="6549"/>
          <ac:graphicFrameMkLst>
            <pc:docMk/>
            <pc:sldMk cId="1525326796" sldId="390"/>
            <ac:graphicFrameMk id="13" creationId="{00000000-0000-0000-0000-000000000000}"/>
          </ac:graphicFrameMkLst>
        </pc:graphicFrameChg>
      </pc:sldChg>
      <pc:sldChg chg="modNotesTx">
        <pc:chgData name="Benoit Gamen" userId="3167fb2a-19f8-4990-bda3-c7be9157474f" providerId="ADAL" clId="{FC9D79AD-37EE-4C00-869C-13231D019661}" dt="2020-08-31T07:50:43.525" v="281" actId="6549"/>
        <pc:sldMkLst>
          <pc:docMk/>
          <pc:sldMk cId="798414340" sldId="397"/>
        </pc:sldMkLst>
      </pc:sldChg>
      <pc:sldChg chg="modNotesTx">
        <pc:chgData name="Benoit Gamen" userId="3167fb2a-19f8-4990-bda3-c7be9157474f" providerId="ADAL" clId="{FC9D79AD-37EE-4C00-869C-13231D019661}" dt="2020-08-31T07:50:57.443" v="282" actId="6549"/>
        <pc:sldMkLst>
          <pc:docMk/>
          <pc:sldMk cId="3676314414" sldId="412"/>
        </pc:sldMkLst>
      </pc:sldChg>
      <pc:sldChg chg="modNotesTx">
        <pc:chgData name="Benoit Gamen" userId="3167fb2a-19f8-4990-bda3-c7be9157474f" providerId="ADAL" clId="{FC9D79AD-37EE-4C00-869C-13231D019661}" dt="2020-08-31T07:51:01.993" v="283" actId="6549"/>
        <pc:sldMkLst>
          <pc:docMk/>
          <pc:sldMk cId="3248765446" sldId="413"/>
        </pc:sldMkLst>
      </pc:sldChg>
    </pc:docChg>
  </pc:docChgLst>
  <pc:docChgLst>
    <pc:chgData name="Benoit Gamen" userId="3167fb2a-19f8-4990-bda3-c7be9157474f" providerId="ADAL" clId="{97CFE5FB-64B0-45B9-BC72-DC078015B01A}"/>
    <pc:docChg chg="custSel modSld">
      <pc:chgData name="Benoit Gamen" userId="3167fb2a-19f8-4990-bda3-c7be9157474f" providerId="ADAL" clId="{97CFE5FB-64B0-45B9-BC72-DC078015B01A}" dt="2020-12-14T08:31:04.528" v="337" actId="3064"/>
      <pc:docMkLst>
        <pc:docMk/>
      </pc:docMkLst>
      <pc:sldChg chg="modSp">
        <pc:chgData name="Benoit Gamen" userId="3167fb2a-19f8-4990-bda3-c7be9157474f" providerId="ADAL" clId="{97CFE5FB-64B0-45B9-BC72-DC078015B01A}" dt="2020-12-02T09:13:17.369" v="143" actId="732"/>
        <pc:sldMkLst>
          <pc:docMk/>
          <pc:sldMk cId="2536071174" sldId="366"/>
        </pc:sldMkLst>
        <pc:picChg chg="mod">
          <ac:chgData name="Benoit Gamen" userId="3167fb2a-19f8-4990-bda3-c7be9157474f" providerId="ADAL" clId="{97CFE5FB-64B0-45B9-BC72-DC078015B01A}" dt="2020-12-02T09:13:17.369" v="143" actId="732"/>
          <ac:picMkLst>
            <pc:docMk/>
            <pc:sldMk cId="2536071174" sldId="366"/>
            <ac:picMk id="11" creationId="{00000000-0000-0000-0000-000000000000}"/>
          </ac:picMkLst>
        </pc:picChg>
      </pc:sldChg>
      <pc:sldChg chg="modSp">
        <pc:chgData name="Benoit Gamen" userId="3167fb2a-19f8-4990-bda3-c7be9157474f" providerId="ADAL" clId="{97CFE5FB-64B0-45B9-BC72-DC078015B01A}" dt="2020-12-02T09:13:05.487" v="142" actId="732"/>
        <pc:sldMkLst>
          <pc:docMk/>
          <pc:sldMk cId="1393427285" sldId="367"/>
        </pc:sldMkLst>
        <pc:picChg chg="mod">
          <ac:chgData name="Benoit Gamen" userId="3167fb2a-19f8-4990-bda3-c7be9157474f" providerId="ADAL" clId="{97CFE5FB-64B0-45B9-BC72-DC078015B01A}" dt="2020-12-02T09:13:05.487" v="142" actId="732"/>
          <ac:picMkLst>
            <pc:docMk/>
            <pc:sldMk cId="1393427285" sldId="367"/>
            <ac:picMk id="24" creationId="{00000000-0000-0000-0000-000000000000}"/>
          </ac:picMkLst>
        </pc:picChg>
      </pc:sldChg>
      <pc:sldChg chg="modSp">
        <pc:chgData name="Benoit Gamen" userId="3167fb2a-19f8-4990-bda3-c7be9157474f" providerId="ADAL" clId="{97CFE5FB-64B0-45B9-BC72-DC078015B01A}" dt="2020-12-02T10:40:25.240" v="150" actId="20577"/>
        <pc:sldMkLst>
          <pc:docMk/>
          <pc:sldMk cId="3555767494" sldId="382"/>
        </pc:sldMkLst>
        <pc:spChg chg="mod">
          <ac:chgData name="Benoit Gamen" userId="3167fb2a-19f8-4990-bda3-c7be9157474f" providerId="ADAL" clId="{97CFE5FB-64B0-45B9-BC72-DC078015B01A}" dt="2020-12-02T10:40:25.240" v="150" actId="20577"/>
          <ac:spMkLst>
            <pc:docMk/>
            <pc:sldMk cId="3555767494" sldId="382"/>
            <ac:spMk id="3" creationId="{00000000-0000-0000-0000-000000000000}"/>
          </ac:spMkLst>
        </pc:spChg>
      </pc:sldChg>
      <pc:sldChg chg="modSp">
        <pc:chgData name="Benoit Gamen" userId="3167fb2a-19f8-4990-bda3-c7be9157474f" providerId="ADAL" clId="{97CFE5FB-64B0-45B9-BC72-DC078015B01A}" dt="2020-12-02T11:31:14.016" v="197" actId="1035"/>
        <pc:sldMkLst>
          <pc:docMk/>
          <pc:sldMk cId="120703535" sldId="385"/>
        </pc:sldMkLst>
        <pc:picChg chg="mod">
          <ac:chgData name="Benoit Gamen" userId="3167fb2a-19f8-4990-bda3-c7be9157474f" providerId="ADAL" clId="{97CFE5FB-64B0-45B9-BC72-DC078015B01A}" dt="2020-12-02T11:31:14.016" v="197" actId="1035"/>
          <ac:picMkLst>
            <pc:docMk/>
            <pc:sldMk cId="120703535" sldId="385"/>
            <ac:picMk id="11" creationId="{00000000-0000-0000-0000-000000000000}"/>
          </ac:picMkLst>
        </pc:picChg>
      </pc:sldChg>
      <pc:sldChg chg="modSp">
        <pc:chgData name="Benoit Gamen" userId="3167fb2a-19f8-4990-bda3-c7be9157474f" providerId="ADAL" clId="{97CFE5FB-64B0-45B9-BC72-DC078015B01A}" dt="2020-12-02T11:47:02.278" v="257" actId="14826"/>
        <pc:sldMkLst>
          <pc:docMk/>
          <pc:sldMk cId="1525326796" sldId="390"/>
        </pc:sldMkLst>
        <pc:spChg chg="mod">
          <ac:chgData name="Benoit Gamen" userId="3167fb2a-19f8-4990-bda3-c7be9157474f" providerId="ADAL" clId="{97CFE5FB-64B0-45B9-BC72-DC078015B01A}" dt="2020-12-02T11:34:32.416" v="249" actId="20577"/>
          <ac:spMkLst>
            <pc:docMk/>
            <pc:sldMk cId="1525326796" sldId="390"/>
            <ac:spMk id="6" creationId="{00000000-0000-0000-0000-000000000000}"/>
          </ac:spMkLst>
        </pc:spChg>
        <pc:picChg chg="mod">
          <ac:chgData name="Benoit Gamen" userId="3167fb2a-19f8-4990-bda3-c7be9157474f" providerId="ADAL" clId="{97CFE5FB-64B0-45B9-BC72-DC078015B01A}" dt="2020-12-02T11:45:54.956" v="250" actId="14826"/>
          <ac:picMkLst>
            <pc:docMk/>
            <pc:sldMk cId="1525326796" sldId="390"/>
            <ac:picMk id="8" creationId="{00000000-0000-0000-0000-000000000000}"/>
          </ac:picMkLst>
        </pc:picChg>
        <pc:picChg chg="mod">
          <ac:chgData name="Benoit Gamen" userId="3167fb2a-19f8-4990-bda3-c7be9157474f" providerId="ADAL" clId="{97CFE5FB-64B0-45B9-BC72-DC078015B01A}" dt="2020-12-02T11:46:03.927" v="251" actId="14826"/>
          <ac:picMkLst>
            <pc:docMk/>
            <pc:sldMk cId="1525326796" sldId="390"/>
            <ac:picMk id="9" creationId="{00000000-0000-0000-0000-000000000000}"/>
          </ac:picMkLst>
        </pc:picChg>
        <pc:picChg chg="mod">
          <ac:chgData name="Benoit Gamen" userId="3167fb2a-19f8-4990-bda3-c7be9157474f" providerId="ADAL" clId="{97CFE5FB-64B0-45B9-BC72-DC078015B01A}" dt="2020-12-02T11:46:10.830" v="252" actId="14826"/>
          <ac:picMkLst>
            <pc:docMk/>
            <pc:sldMk cId="1525326796" sldId="390"/>
            <ac:picMk id="10" creationId="{00000000-0000-0000-0000-000000000000}"/>
          </ac:picMkLst>
        </pc:picChg>
        <pc:picChg chg="mod">
          <ac:chgData name="Benoit Gamen" userId="3167fb2a-19f8-4990-bda3-c7be9157474f" providerId="ADAL" clId="{97CFE5FB-64B0-45B9-BC72-DC078015B01A}" dt="2020-12-02T11:46:16.194" v="253" actId="14826"/>
          <ac:picMkLst>
            <pc:docMk/>
            <pc:sldMk cId="1525326796" sldId="390"/>
            <ac:picMk id="11" creationId="{00000000-0000-0000-0000-000000000000}"/>
          </ac:picMkLst>
        </pc:picChg>
        <pc:picChg chg="mod">
          <ac:chgData name="Benoit Gamen" userId="3167fb2a-19f8-4990-bda3-c7be9157474f" providerId="ADAL" clId="{97CFE5FB-64B0-45B9-BC72-DC078015B01A}" dt="2020-12-02T11:46:26.975" v="254" actId="14826"/>
          <ac:picMkLst>
            <pc:docMk/>
            <pc:sldMk cId="1525326796" sldId="390"/>
            <ac:picMk id="12" creationId="{00000000-0000-0000-0000-000000000000}"/>
          </ac:picMkLst>
        </pc:picChg>
        <pc:picChg chg="mod">
          <ac:chgData name="Benoit Gamen" userId="3167fb2a-19f8-4990-bda3-c7be9157474f" providerId="ADAL" clId="{97CFE5FB-64B0-45B9-BC72-DC078015B01A}" dt="2020-12-02T11:46:42.945" v="255" actId="14826"/>
          <ac:picMkLst>
            <pc:docMk/>
            <pc:sldMk cId="1525326796" sldId="390"/>
            <ac:picMk id="17" creationId="{00000000-0000-0000-0000-000000000000}"/>
          </ac:picMkLst>
        </pc:picChg>
        <pc:picChg chg="mod">
          <ac:chgData name="Benoit Gamen" userId="3167fb2a-19f8-4990-bda3-c7be9157474f" providerId="ADAL" clId="{97CFE5FB-64B0-45B9-BC72-DC078015B01A}" dt="2020-12-02T11:46:53.501" v="256" actId="14826"/>
          <ac:picMkLst>
            <pc:docMk/>
            <pc:sldMk cId="1525326796" sldId="390"/>
            <ac:picMk id="18" creationId="{00000000-0000-0000-0000-000000000000}"/>
          </ac:picMkLst>
        </pc:picChg>
        <pc:picChg chg="mod">
          <ac:chgData name="Benoit Gamen" userId="3167fb2a-19f8-4990-bda3-c7be9157474f" providerId="ADAL" clId="{97CFE5FB-64B0-45B9-BC72-DC078015B01A}" dt="2020-12-02T11:47:02.278" v="257" actId="14826"/>
          <ac:picMkLst>
            <pc:docMk/>
            <pc:sldMk cId="1525326796" sldId="390"/>
            <ac:picMk id="19" creationId="{00000000-0000-0000-0000-000000000000}"/>
          </ac:picMkLst>
        </pc:picChg>
      </pc:sldChg>
      <pc:sldChg chg="modSp">
        <pc:chgData name="Benoit Gamen" userId="3167fb2a-19f8-4990-bda3-c7be9157474f" providerId="ADAL" clId="{97CFE5FB-64B0-45B9-BC72-DC078015B01A}" dt="2020-12-14T08:31:04.528" v="337" actId="3064"/>
        <pc:sldMkLst>
          <pc:docMk/>
          <pc:sldMk cId="798414340" sldId="397"/>
        </pc:sldMkLst>
        <pc:graphicFrameChg chg="modGraphic">
          <ac:chgData name="Benoit Gamen" userId="3167fb2a-19f8-4990-bda3-c7be9157474f" providerId="ADAL" clId="{97CFE5FB-64B0-45B9-BC72-DC078015B01A}" dt="2020-12-14T08:31:04.528" v="337" actId="3064"/>
          <ac:graphicFrameMkLst>
            <pc:docMk/>
            <pc:sldMk cId="798414340" sldId="397"/>
            <ac:graphicFrameMk id="2" creationId="{D97389F5-6EB0-41BA-8E9B-F0F149D4388F}"/>
          </ac:graphicFrameMkLst>
        </pc:graphicFrameChg>
      </pc:sldChg>
      <pc:sldChg chg="modSp">
        <pc:chgData name="Benoit Gamen" userId="3167fb2a-19f8-4990-bda3-c7be9157474f" providerId="ADAL" clId="{97CFE5FB-64B0-45B9-BC72-DC078015B01A}" dt="2020-12-02T11:48:37.246" v="314" actId="14826"/>
        <pc:sldMkLst>
          <pc:docMk/>
          <pc:sldMk cId="3676314414" sldId="412"/>
        </pc:sldMkLst>
        <pc:spChg chg="mod">
          <ac:chgData name="Benoit Gamen" userId="3167fb2a-19f8-4990-bda3-c7be9157474f" providerId="ADAL" clId="{97CFE5FB-64B0-45B9-BC72-DC078015B01A}" dt="2020-12-02T09:15:33.595" v="145" actId="20577"/>
          <ac:spMkLst>
            <pc:docMk/>
            <pc:sldMk cId="3676314414" sldId="412"/>
            <ac:spMk id="49" creationId="{00000000-0000-0000-0000-000000000000}"/>
          </ac:spMkLst>
        </pc:spChg>
        <pc:grpChg chg="mod">
          <ac:chgData name="Benoit Gamen" userId="3167fb2a-19f8-4990-bda3-c7be9157474f" providerId="ADAL" clId="{97CFE5FB-64B0-45B9-BC72-DC078015B01A}" dt="2020-12-02T11:48:22.031" v="312" actId="14826"/>
          <ac:grpSpMkLst>
            <pc:docMk/>
            <pc:sldMk cId="3676314414" sldId="412"/>
            <ac:grpSpMk id="2" creationId="{00000000-0000-0000-0000-000000000000}"/>
          </ac:grpSpMkLst>
        </pc:grpChg>
        <pc:grpChg chg="mod">
          <ac:chgData name="Benoit Gamen" userId="3167fb2a-19f8-4990-bda3-c7be9157474f" providerId="ADAL" clId="{97CFE5FB-64B0-45B9-BC72-DC078015B01A}" dt="2020-12-02T11:48:37.246" v="314" actId="14826"/>
          <ac:grpSpMkLst>
            <pc:docMk/>
            <pc:sldMk cId="3676314414" sldId="412"/>
            <ac:grpSpMk id="8" creationId="{00000000-0000-0000-0000-000000000000}"/>
          </ac:grpSpMkLst>
        </pc:grpChg>
        <pc:picChg chg="mod">
          <ac:chgData name="Benoit Gamen" userId="3167fb2a-19f8-4990-bda3-c7be9157474f" providerId="ADAL" clId="{97CFE5FB-64B0-45B9-BC72-DC078015B01A}" dt="2020-12-02T11:48:16.078" v="311" actId="14826"/>
          <ac:picMkLst>
            <pc:docMk/>
            <pc:sldMk cId="3676314414" sldId="412"/>
            <ac:picMk id="40" creationId="{00000000-0000-0000-0000-000000000000}"/>
          </ac:picMkLst>
        </pc:picChg>
        <pc:picChg chg="mod">
          <ac:chgData name="Benoit Gamen" userId="3167fb2a-19f8-4990-bda3-c7be9157474f" providerId="ADAL" clId="{97CFE5FB-64B0-45B9-BC72-DC078015B01A}" dt="2020-12-02T11:48:22.031" v="312" actId="14826"/>
          <ac:picMkLst>
            <pc:docMk/>
            <pc:sldMk cId="3676314414" sldId="412"/>
            <ac:picMk id="41" creationId="{00000000-0000-0000-0000-000000000000}"/>
          </ac:picMkLst>
        </pc:picChg>
        <pc:picChg chg="mod">
          <ac:chgData name="Benoit Gamen" userId="3167fb2a-19f8-4990-bda3-c7be9157474f" providerId="ADAL" clId="{97CFE5FB-64B0-45B9-BC72-DC078015B01A}" dt="2020-12-02T11:48:37.246" v="314" actId="14826"/>
          <ac:picMkLst>
            <pc:docMk/>
            <pc:sldMk cId="3676314414" sldId="412"/>
            <ac:picMk id="42" creationId="{00000000-0000-0000-0000-000000000000}"/>
          </ac:picMkLst>
        </pc:picChg>
        <pc:picChg chg="mod">
          <ac:chgData name="Benoit Gamen" userId="3167fb2a-19f8-4990-bda3-c7be9157474f" providerId="ADAL" clId="{97CFE5FB-64B0-45B9-BC72-DC078015B01A}" dt="2020-12-02T11:48:30.822" v="313" actId="14826"/>
          <ac:picMkLst>
            <pc:docMk/>
            <pc:sldMk cId="3676314414" sldId="412"/>
            <ac:picMk id="46" creationId="{00000000-0000-0000-0000-000000000000}"/>
          </ac:picMkLst>
        </pc:picChg>
        <pc:cxnChg chg="mod">
          <ac:chgData name="Benoit Gamen" userId="3167fb2a-19f8-4990-bda3-c7be9157474f" providerId="ADAL" clId="{97CFE5FB-64B0-45B9-BC72-DC078015B01A}" dt="2020-12-02T09:16:06.541" v="147" actId="14100"/>
          <ac:cxnSpMkLst>
            <pc:docMk/>
            <pc:sldMk cId="3676314414" sldId="412"/>
            <ac:cxnSpMk id="51" creationId="{00000000-0000-0000-0000-000000000000}"/>
          </ac:cxnSpMkLst>
        </pc:cxnChg>
        <pc:cxnChg chg="mod">
          <ac:chgData name="Benoit Gamen" userId="3167fb2a-19f8-4990-bda3-c7be9157474f" providerId="ADAL" clId="{97CFE5FB-64B0-45B9-BC72-DC078015B01A}" dt="2020-12-02T09:16:10.308" v="148" actId="14100"/>
          <ac:cxnSpMkLst>
            <pc:docMk/>
            <pc:sldMk cId="3676314414" sldId="412"/>
            <ac:cxnSpMk id="52" creationId="{00000000-0000-0000-0000-000000000000}"/>
          </ac:cxnSpMkLst>
        </pc:cxnChg>
      </pc:sldChg>
      <pc:sldChg chg="addSp delSp modSp">
        <pc:chgData name="Benoit Gamen" userId="3167fb2a-19f8-4990-bda3-c7be9157474f" providerId="ADAL" clId="{97CFE5FB-64B0-45B9-BC72-DC078015B01A}" dt="2020-12-07T12:33:36.949" v="325" actId="20577"/>
        <pc:sldMkLst>
          <pc:docMk/>
          <pc:sldMk cId="3248765446" sldId="413"/>
        </pc:sldMkLst>
        <pc:graphicFrameChg chg="modGraphic">
          <ac:chgData name="Benoit Gamen" userId="3167fb2a-19f8-4990-bda3-c7be9157474f" providerId="ADAL" clId="{97CFE5FB-64B0-45B9-BC72-DC078015B01A}" dt="2020-12-07T12:33:36.949" v="325" actId="20577"/>
          <ac:graphicFrameMkLst>
            <pc:docMk/>
            <pc:sldMk cId="3248765446" sldId="413"/>
            <ac:graphicFrameMk id="42" creationId="{E1B9A75F-FAA7-4035-9AAF-4B7401EF3E6B}"/>
          </ac:graphicFrameMkLst>
        </pc:graphicFrameChg>
        <pc:picChg chg="mod modCrop">
          <ac:chgData name="Benoit Gamen" userId="3167fb2a-19f8-4990-bda3-c7be9157474f" providerId="ADAL" clId="{97CFE5FB-64B0-45B9-BC72-DC078015B01A}" dt="2020-12-02T09:11:08.251" v="139" actId="555"/>
          <ac:picMkLst>
            <pc:docMk/>
            <pc:sldMk cId="3248765446" sldId="413"/>
            <ac:picMk id="27" creationId="{00000000-0000-0000-0000-000000000000}"/>
          </ac:picMkLst>
        </pc:picChg>
        <pc:picChg chg="mod modCrop">
          <ac:chgData name="Benoit Gamen" userId="3167fb2a-19f8-4990-bda3-c7be9157474f" providerId="ADAL" clId="{97CFE5FB-64B0-45B9-BC72-DC078015B01A}" dt="2020-12-02T09:11:08.251" v="139" actId="555"/>
          <ac:picMkLst>
            <pc:docMk/>
            <pc:sldMk cId="3248765446" sldId="413"/>
            <ac:picMk id="28" creationId="{00000000-0000-0000-0000-000000000000}"/>
          </ac:picMkLst>
        </pc:picChg>
        <pc:picChg chg="mod modCrop">
          <ac:chgData name="Benoit Gamen" userId="3167fb2a-19f8-4990-bda3-c7be9157474f" providerId="ADAL" clId="{97CFE5FB-64B0-45B9-BC72-DC078015B01A}" dt="2020-12-02T09:11:13.723" v="140" actId="14100"/>
          <ac:picMkLst>
            <pc:docMk/>
            <pc:sldMk cId="3248765446" sldId="413"/>
            <ac:picMk id="29" creationId="{00000000-0000-0000-0000-000000000000}"/>
          </ac:picMkLst>
        </pc:picChg>
        <pc:picChg chg="mod modCrop">
          <ac:chgData name="Benoit Gamen" userId="3167fb2a-19f8-4990-bda3-c7be9157474f" providerId="ADAL" clId="{97CFE5FB-64B0-45B9-BC72-DC078015B01A}" dt="2020-12-02T09:11:17.159" v="141" actId="14100"/>
          <ac:picMkLst>
            <pc:docMk/>
            <pc:sldMk cId="3248765446" sldId="413"/>
            <ac:picMk id="30" creationId="{00000000-0000-0000-0000-000000000000}"/>
          </ac:picMkLst>
        </pc:picChg>
        <pc:picChg chg="del">
          <ac:chgData name="Benoit Gamen" userId="3167fb2a-19f8-4990-bda3-c7be9157474f" providerId="ADAL" clId="{97CFE5FB-64B0-45B9-BC72-DC078015B01A}" dt="2020-12-02T09:09:53.222" v="73" actId="478"/>
          <ac:picMkLst>
            <pc:docMk/>
            <pc:sldMk cId="3248765446" sldId="413"/>
            <ac:picMk id="37" creationId="{0E0224B0-7460-4FAD-A6E2-565D35A079EE}"/>
          </ac:picMkLst>
        </pc:picChg>
        <pc:picChg chg="add del mod">
          <ac:chgData name="Benoit Gamen" userId="3167fb2a-19f8-4990-bda3-c7be9157474f" providerId="ADAL" clId="{97CFE5FB-64B0-45B9-BC72-DC078015B01A}" dt="2020-12-02T11:47:15.711" v="258" actId="478"/>
          <ac:picMkLst>
            <pc:docMk/>
            <pc:sldMk cId="3248765446" sldId="413"/>
            <ac:picMk id="37" creationId="{C011BB92-D9D2-4836-B50E-F609CE3817AA}"/>
          </ac:picMkLst>
        </pc:picChg>
        <pc:picChg chg="add del mod">
          <ac:chgData name="Benoit Gamen" userId="3167fb2a-19f8-4990-bda3-c7be9157474f" providerId="ADAL" clId="{97CFE5FB-64B0-45B9-BC72-DC078015B01A}" dt="2020-12-02T11:47:15.711" v="258" actId="478"/>
          <ac:picMkLst>
            <pc:docMk/>
            <pc:sldMk cId="3248765446" sldId="413"/>
            <ac:picMk id="38" creationId="{3365C0EC-121C-4E59-B9B0-CFEDCC71C4FE}"/>
          </ac:picMkLst>
        </pc:picChg>
        <pc:picChg chg="del">
          <ac:chgData name="Benoit Gamen" userId="3167fb2a-19f8-4990-bda3-c7be9157474f" providerId="ADAL" clId="{97CFE5FB-64B0-45B9-BC72-DC078015B01A}" dt="2020-12-02T09:09:53.222" v="73" actId="478"/>
          <ac:picMkLst>
            <pc:docMk/>
            <pc:sldMk cId="3248765446" sldId="413"/>
            <ac:picMk id="38" creationId="{617C3EA6-6EC7-4BF7-A673-809A6FB5D903}"/>
          </ac:picMkLst>
        </pc:picChg>
        <pc:picChg chg="del">
          <ac:chgData name="Benoit Gamen" userId="3167fb2a-19f8-4990-bda3-c7be9157474f" providerId="ADAL" clId="{97CFE5FB-64B0-45B9-BC72-DC078015B01A}" dt="2020-12-02T09:09:53.222" v="73" actId="478"/>
          <ac:picMkLst>
            <pc:docMk/>
            <pc:sldMk cId="3248765446" sldId="413"/>
            <ac:picMk id="39" creationId="{180EAA4C-A54C-4CC2-9690-84B425F588F9}"/>
          </ac:picMkLst>
        </pc:picChg>
        <pc:picChg chg="add del mod">
          <ac:chgData name="Benoit Gamen" userId="3167fb2a-19f8-4990-bda3-c7be9157474f" providerId="ADAL" clId="{97CFE5FB-64B0-45B9-BC72-DC078015B01A}" dt="2020-12-02T11:47:15.711" v="258" actId="478"/>
          <ac:picMkLst>
            <pc:docMk/>
            <pc:sldMk cId="3248765446" sldId="413"/>
            <ac:picMk id="39" creationId="{FC9C3B2E-7704-4091-A900-C58EABA82CC5}"/>
          </ac:picMkLst>
        </pc:picChg>
        <pc:picChg chg="del">
          <ac:chgData name="Benoit Gamen" userId="3167fb2a-19f8-4990-bda3-c7be9157474f" providerId="ADAL" clId="{97CFE5FB-64B0-45B9-BC72-DC078015B01A}" dt="2020-12-02T09:09:53.222" v="73" actId="478"/>
          <ac:picMkLst>
            <pc:docMk/>
            <pc:sldMk cId="3248765446" sldId="413"/>
            <ac:picMk id="40" creationId="{BDF05278-CF62-4E64-A0DE-F6FA8EA6ACEC}"/>
          </ac:picMkLst>
        </pc:picChg>
        <pc:picChg chg="add del mod">
          <ac:chgData name="Benoit Gamen" userId="3167fb2a-19f8-4990-bda3-c7be9157474f" providerId="ADAL" clId="{97CFE5FB-64B0-45B9-BC72-DC078015B01A}" dt="2020-12-02T11:47:15.711" v="258" actId="478"/>
          <ac:picMkLst>
            <pc:docMk/>
            <pc:sldMk cId="3248765446" sldId="413"/>
            <ac:picMk id="40" creationId="{CA24170C-4E0E-4C40-91AB-8465806AB4F5}"/>
          </ac:picMkLst>
        </pc:picChg>
        <pc:picChg chg="del">
          <ac:chgData name="Benoit Gamen" userId="3167fb2a-19f8-4990-bda3-c7be9157474f" providerId="ADAL" clId="{97CFE5FB-64B0-45B9-BC72-DC078015B01A}" dt="2020-12-02T09:09:53.222" v="73" actId="478"/>
          <ac:picMkLst>
            <pc:docMk/>
            <pc:sldMk cId="3248765446" sldId="413"/>
            <ac:picMk id="41" creationId="{3A5B5C6F-A5A6-4615-B212-1578B4EE1D9B}"/>
          </ac:picMkLst>
        </pc:picChg>
        <pc:picChg chg="add del mod">
          <ac:chgData name="Benoit Gamen" userId="3167fb2a-19f8-4990-bda3-c7be9157474f" providerId="ADAL" clId="{97CFE5FB-64B0-45B9-BC72-DC078015B01A}" dt="2020-12-02T11:47:15.711" v="258" actId="478"/>
          <ac:picMkLst>
            <pc:docMk/>
            <pc:sldMk cId="3248765446" sldId="413"/>
            <ac:picMk id="41" creationId="{A48703D9-D82F-450E-A6D2-94C2BE22C51C}"/>
          </ac:picMkLst>
        </pc:picChg>
        <pc:picChg chg="del">
          <ac:chgData name="Benoit Gamen" userId="3167fb2a-19f8-4990-bda3-c7be9157474f" providerId="ADAL" clId="{97CFE5FB-64B0-45B9-BC72-DC078015B01A}" dt="2020-12-02T09:09:53.222" v="73" actId="478"/>
          <ac:picMkLst>
            <pc:docMk/>
            <pc:sldMk cId="3248765446" sldId="413"/>
            <ac:picMk id="43" creationId="{76BABC01-EDF7-495C-B32B-0A1DA4239FF6}"/>
          </ac:picMkLst>
        </pc:picChg>
        <pc:picChg chg="add del mod">
          <ac:chgData name="Benoit Gamen" userId="3167fb2a-19f8-4990-bda3-c7be9157474f" providerId="ADAL" clId="{97CFE5FB-64B0-45B9-BC72-DC078015B01A}" dt="2020-12-02T11:47:15.711" v="258" actId="478"/>
          <ac:picMkLst>
            <pc:docMk/>
            <pc:sldMk cId="3248765446" sldId="413"/>
            <ac:picMk id="43" creationId="{821AE56E-AA2D-4A34-8B29-610A60A9C86C}"/>
          </ac:picMkLst>
        </pc:picChg>
        <pc:picChg chg="del">
          <ac:chgData name="Benoit Gamen" userId="3167fb2a-19f8-4990-bda3-c7be9157474f" providerId="ADAL" clId="{97CFE5FB-64B0-45B9-BC72-DC078015B01A}" dt="2020-12-02T09:09:53.222" v="73" actId="478"/>
          <ac:picMkLst>
            <pc:docMk/>
            <pc:sldMk cId="3248765446" sldId="413"/>
            <ac:picMk id="44" creationId="{0C4834D8-0C05-43E4-86E5-C402895E5702}"/>
          </ac:picMkLst>
        </pc:picChg>
        <pc:picChg chg="add del mod">
          <ac:chgData name="Benoit Gamen" userId="3167fb2a-19f8-4990-bda3-c7be9157474f" providerId="ADAL" clId="{97CFE5FB-64B0-45B9-BC72-DC078015B01A}" dt="2020-12-02T11:47:15.711" v="258" actId="478"/>
          <ac:picMkLst>
            <pc:docMk/>
            <pc:sldMk cId="3248765446" sldId="413"/>
            <ac:picMk id="44" creationId="{5DF0A332-9462-469C-BC5F-2C664A8CA677}"/>
          </ac:picMkLst>
        </pc:picChg>
        <pc:picChg chg="add del mod">
          <ac:chgData name="Benoit Gamen" userId="3167fb2a-19f8-4990-bda3-c7be9157474f" providerId="ADAL" clId="{97CFE5FB-64B0-45B9-BC72-DC078015B01A}" dt="2020-12-02T11:47:15.711" v="258" actId="478"/>
          <ac:picMkLst>
            <pc:docMk/>
            <pc:sldMk cId="3248765446" sldId="413"/>
            <ac:picMk id="45" creationId="{8768CEB6-16BF-4989-8AAA-CDF9DF63F866}"/>
          </ac:picMkLst>
        </pc:picChg>
        <pc:picChg chg="del">
          <ac:chgData name="Benoit Gamen" userId="3167fb2a-19f8-4990-bda3-c7be9157474f" providerId="ADAL" clId="{97CFE5FB-64B0-45B9-BC72-DC078015B01A}" dt="2020-12-02T09:09:53.222" v="73" actId="478"/>
          <ac:picMkLst>
            <pc:docMk/>
            <pc:sldMk cId="3248765446" sldId="413"/>
            <ac:picMk id="45" creationId="{8B8B1378-B302-4F9C-88B7-EDAAF98F8BC6}"/>
          </ac:picMkLst>
        </pc:picChg>
        <pc:picChg chg="add mod">
          <ac:chgData name="Benoit Gamen" userId="3167fb2a-19f8-4990-bda3-c7be9157474f" providerId="ADAL" clId="{97CFE5FB-64B0-45B9-BC72-DC078015B01A}" dt="2020-12-02T11:47:24.544" v="260" actId="1076"/>
          <ac:picMkLst>
            <pc:docMk/>
            <pc:sldMk cId="3248765446" sldId="413"/>
            <ac:picMk id="50" creationId="{281D6CC7-0D65-48CF-89D3-8C794F609213}"/>
          </ac:picMkLst>
        </pc:picChg>
        <pc:picChg chg="add del mod">
          <ac:chgData name="Benoit Gamen" userId="3167fb2a-19f8-4990-bda3-c7be9157474f" providerId="ADAL" clId="{97CFE5FB-64B0-45B9-BC72-DC078015B01A}" dt="2020-12-02T11:32:28.534" v="206" actId="478"/>
          <ac:picMkLst>
            <pc:docMk/>
            <pc:sldMk cId="3248765446" sldId="413"/>
            <ac:picMk id="50" creationId="{8CA263F1-F5C5-4833-B07C-0FA2A89D825A}"/>
          </ac:picMkLst>
        </pc:picChg>
        <pc:picChg chg="add del mod">
          <ac:chgData name="Benoit Gamen" userId="3167fb2a-19f8-4990-bda3-c7be9157474f" providerId="ADAL" clId="{97CFE5FB-64B0-45B9-BC72-DC078015B01A}" dt="2020-12-02T11:32:28.534" v="206" actId="478"/>
          <ac:picMkLst>
            <pc:docMk/>
            <pc:sldMk cId="3248765446" sldId="413"/>
            <ac:picMk id="51" creationId="{21EA0192-B170-4B02-87BD-0EC7C284C38E}"/>
          </ac:picMkLst>
        </pc:picChg>
        <pc:picChg chg="add mod">
          <ac:chgData name="Benoit Gamen" userId="3167fb2a-19f8-4990-bda3-c7be9157474f" providerId="ADAL" clId="{97CFE5FB-64B0-45B9-BC72-DC078015B01A}" dt="2020-12-02T11:47:24.544" v="260" actId="1076"/>
          <ac:picMkLst>
            <pc:docMk/>
            <pc:sldMk cId="3248765446" sldId="413"/>
            <ac:picMk id="51" creationId="{4EEC5470-46F8-4D90-AF73-7ACB3FFB34CC}"/>
          </ac:picMkLst>
        </pc:picChg>
        <pc:picChg chg="add del mod">
          <ac:chgData name="Benoit Gamen" userId="3167fb2a-19f8-4990-bda3-c7be9157474f" providerId="ADAL" clId="{97CFE5FB-64B0-45B9-BC72-DC078015B01A}" dt="2020-12-02T11:32:28.534" v="206" actId="478"/>
          <ac:picMkLst>
            <pc:docMk/>
            <pc:sldMk cId="3248765446" sldId="413"/>
            <ac:picMk id="52" creationId="{6C28793E-6F98-42CC-BFA1-F2A51E9EED03}"/>
          </ac:picMkLst>
        </pc:picChg>
        <pc:picChg chg="add mod">
          <ac:chgData name="Benoit Gamen" userId="3167fb2a-19f8-4990-bda3-c7be9157474f" providerId="ADAL" clId="{97CFE5FB-64B0-45B9-BC72-DC078015B01A}" dt="2020-12-02T11:47:30.547" v="267" actId="1036"/>
          <ac:picMkLst>
            <pc:docMk/>
            <pc:sldMk cId="3248765446" sldId="413"/>
            <ac:picMk id="52" creationId="{B659A335-1575-481D-AB38-A4DBF66B0C23}"/>
          </ac:picMkLst>
        </pc:picChg>
        <pc:picChg chg="add mod">
          <ac:chgData name="Benoit Gamen" userId="3167fb2a-19f8-4990-bda3-c7be9157474f" providerId="ADAL" clId="{97CFE5FB-64B0-45B9-BC72-DC078015B01A}" dt="2020-12-02T11:47:35.687" v="281" actId="1038"/>
          <ac:picMkLst>
            <pc:docMk/>
            <pc:sldMk cId="3248765446" sldId="413"/>
            <ac:picMk id="53" creationId="{951472B8-92A4-4C55-B61F-E0DAE20004E8}"/>
          </ac:picMkLst>
        </pc:picChg>
        <pc:picChg chg="add del mod">
          <ac:chgData name="Benoit Gamen" userId="3167fb2a-19f8-4990-bda3-c7be9157474f" providerId="ADAL" clId="{97CFE5FB-64B0-45B9-BC72-DC078015B01A}" dt="2020-12-02T11:32:28.534" v="206" actId="478"/>
          <ac:picMkLst>
            <pc:docMk/>
            <pc:sldMk cId="3248765446" sldId="413"/>
            <ac:picMk id="53" creationId="{A394EB70-C58F-4B4C-B427-9A0A8EDED706}"/>
          </ac:picMkLst>
        </pc:picChg>
        <pc:picChg chg="add del mod">
          <ac:chgData name="Benoit Gamen" userId="3167fb2a-19f8-4990-bda3-c7be9157474f" providerId="ADAL" clId="{97CFE5FB-64B0-45B9-BC72-DC078015B01A}" dt="2020-12-02T11:32:28.534" v="206" actId="478"/>
          <ac:picMkLst>
            <pc:docMk/>
            <pc:sldMk cId="3248765446" sldId="413"/>
            <ac:picMk id="54" creationId="{2E3542C2-031B-435C-A1F3-53F3B20D7095}"/>
          </ac:picMkLst>
        </pc:picChg>
        <pc:picChg chg="add mod">
          <ac:chgData name="Benoit Gamen" userId="3167fb2a-19f8-4990-bda3-c7be9157474f" providerId="ADAL" clId="{97CFE5FB-64B0-45B9-BC72-DC078015B01A}" dt="2020-12-02T11:47:38.410" v="296" actId="1038"/>
          <ac:picMkLst>
            <pc:docMk/>
            <pc:sldMk cId="3248765446" sldId="413"/>
            <ac:picMk id="54" creationId="{D84FE4E3-D9C6-46BD-A064-90B31533EA49}"/>
          </ac:picMkLst>
        </pc:picChg>
        <pc:picChg chg="add mod">
          <ac:chgData name="Benoit Gamen" userId="3167fb2a-19f8-4990-bda3-c7be9157474f" providerId="ADAL" clId="{97CFE5FB-64B0-45B9-BC72-DC078015B01A}" dt="2020-12-02T11:47:40.980" v="310" actId="1037"/>
          <ac:picMkLst>
            <pc:docMk/>
            <pc:sldMk cId="3248765446" sldId="413"/>
            <ac:picMk id="55" creationId="{74A24B3D-5666-4663-83C1-DBD5EB2B9E62}"/>
          </ac:picMkLst>
        </pc:picChg>
        <pc:picChg chg="add del mod">
          <ac:chgData name="Benoit Gamen" userId="3167fb2a-19f8-4990-bda3-c7be9157474f" providerId="ADAL" clId="{97CFE5FB-64B0-45B9-BC72-DC078015B01A}" dt="2020-12-02T11:32:28.534" v="206" actId="478"/>
          <ac:picMkLst>
            <pc:docMk/>
            <pc:sldMk cId="3248765446" sldId="413"/>
            <ac:picMk id="55" creationId="{C7B9A479-9ABD-4A6E-ACC8-98BE7916896B}"/>
          </ac:picMkLst>
        </pc:picChg>
        <pc:picChg chg="add mod">
          <ac:chgData name="Benoit Gamen" userId="3167fb2a-19f8-4990-bda3-c7be9157474f" providerId="ADAL" clId="{97CFE5FB-64B0-45B9-BC72-DC078015B01A}" dt="2020-12-02T11:47:24.544" v="260" actId="1076"/>
          <ac:picMkLst>
            <pc:docMk/>
            <pc:sldMk cId="3248765446" sldId="413"/>
            <ac:picMk id="56" creationId="{1EA2693C-7DAD-4646-80B7-75269708817E}"/>
          </ac:picMkLst>
        </pc:picChg>
        <pc:picChg chg="add del mod">
          <ac:chgData name="Benoit Gamen" userId="3167fb2a-19f8-4990-bda3-c7be9157474f" providerId="ADAL" clId="{97CFE5FB-64B0-45B9-BC72-DC078015B01A}" dt="2020-12-02T11:32:28.534" v="206" actId="478"/>
          <ac:picMkLst>
            <pc:docMk/>
            <pc:sldMk cId="3248765446" sldId="413"/>
            <ac:picMk id="56" creationId="{35D7A903-E31A-4137-845E-8199C1EC087B}"/>
          </ac:picMkLst>
        </pc:picChg>
        <pc:picChg chg="add mod">
          <ac:chgData name="Benoit Gamen" userId="3167fb2a-19f8-4990-bda3-c7be9157474f" providerId="ADAL" clId="{97CFE5FB-64B0-45B9-BC72-DC078015B01A}" dt="2020-12-02T11:47:24.544" v="260" actId="1076"/>
          <ac:picMkLst>
            <pc:docMk/>
            <pc:sldMk cId="3248765446" sldId="413"/>
            <ac:picMk id="57" creationId="{D78418CC-4E5F-4401-9D07-5644A119B367}"/>
          </ac:picMkLst>
        </pc:picChg>
        <pc:picChg chg="add del mod">
          <ac:chgData name="Benoit Gamen" userId="3167fb2a-19f8-4990-bda3-c7be9157474f" providerId="ADAL" clId="{97CFE5FB-64B0-45B9-BC72-DC078015B01A}" dt="2020-12-02T11:32:28.534" v="206" actId="478"/>
          <ac:picMkLst>
            <pc:docMk/>
            <pc:sldMk cId="3248765446" sldId="413"/>
            <ac:picMk id="57" creationId="{E866924C-E26D-4069-B31B-872D223E632B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gray"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gray"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96490A3-8906-4C15-BA06-29841194A30F}" type="datetimeFigureOut">
              <a:rPr lang="en-US" smtClean="0"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12/14/2020</a:t>
            </a:fld>
            <a:endParaRPr lang="en-US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gray"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gray"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DABD733-F72C-4484-8056-9C6167F848BC}" type="slidenum">
              <a:rPr lang="en-US" smtClean="0"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‹#›</a:t>
            </a:fld>
            <a:endParaRPr lang="en-US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561157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gray"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gray"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defRPr>
            </a:lvl1pPr>
          </a:lstStyle>
          <a:p>
            <a:fld id="{7B9B1A6A-6BBE-4409-8C9E-DA0703379151}" type="datetimeFigureOut">
              <a:rPr lang="en-US" smtClean="0"/>
              <a:pPr/>
              <a:t>12/14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920750" y="744538"/>
            <a:ext cx="4962525" cy="3722687"/>
          </a:xfrm>
          <a:prstGeom prst="rect">
            <a:avLst/>
          </a:prstGeom>
          <a:noFill/>
          <a:ln w="12700">
            <a:solidFill>
              <a:schemeClr val="accent5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380446" y="4715907"/>
            <a:ext cx="6036783" cy="4467701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gray"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gray"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defRPr>
            </a:lvl1pPr>
          </a:lstStyle>
          <a:p>
            <a:fld id="{3A94E69C-C28A-4BE6-BE89-71D8FB2035F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908856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defRPr sz="1200" kern="1200">
        <a:solidFill>
          <a:schemeClr val="tx1"/>
        </a:solidFill>
        <a:latin typeface="ABBvoice" panose="020D0603020503020204" pitchFamily="34" charset="0"/>
        <a:ea typeface="ABBvoice" panose="020D0603020503020204" pitchFamily="34" charset="0"/>
        <a:cs typeface="ABBvoice" panose="020D0603020503020204" pitchFamily="34" charset="0"/>
      </a:defRPr>
    </a:lvl1pPr>
    <a:lvl2pPr marL="180000" indent="-180000" algn="l" defTabSz="914400" rtl="0" eaLnBrk="1" latinLnBrk="0" hangingPunct="1">
      <a:buFont typeface="ABBvoiceOffice" panose="020D0603020503020204" pitchFamily="34" charset="0"/>
      <a:buChar char="–"/>
      <a:defRPr sz="1200" kern="1200">
        <a:solidFill>
          <a:schemeClr val="tx1"/>
        </a:solidFill>
        <a:latin typeface="ABBvoice" panose="020D0603020503020204" pitchFamily="34" charset="0"/>
        <a:ea typeface="ABBvoice" panose="020D0603020503020204" pitchFamily="34" charset="0"/>
        <a:cs typeface="ABBvoice" panose="020D0603020503020204" pitchFamily="34" charset="0"/>
      </a:defRPr>
    </a:lvl2pPr>
    <a:lvl3pPr marL="360000" indent="-18000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ABBvoice" panose="020D0603020503020204" pitchFamily="34" charset="0"/>
        <a:ea typeface="ABBvoice" panose="020D0603020503020204" pitchFamily="34" charset="0"/>
        <a:cs typeface="ABBvoice" panose="020D0603020503020204" pitchFamily="34" charset="0"/>
      </a:defRPr>
    </a:lvl3pPr>
    <a:lvl4pPr marL="360000" indent="-18000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ABBvoice" panose="020D0603020503020204" pitchFamily="34" charset="0"/>
        <a:ea typeface="ABBvoice" panose="020D0603020503020204" pitchFamily="34" charset="0"/>
        <a:cs typeface="ABBvoice" panose="020D0603020503020204" pitchFamily="34" charset="0"/>
      </a:defRPr>
    </a:lvl4pPr>
    <a:lvl5pPr marL="360000" indent="-18000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ABBvoice" panose="020D0603020503020204" pitchFamily="34" charset="0"/>
        <a:ea typeface="ABBvoice" panose="020D0603020503020204" pitchFamily="34" charset="0"/>
        <a:cs typeface="ABBvoice" panose="020D0603020503020204" pitchFamily="34" charset="0"/>
      </a:defRPr>
    </a:lvl5pPr>
    <a:lvl6pPr marL="360000" indent="-18000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360000" indent="-18000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60000" indent="-18000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0000" indent="-18000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94E69C-C28A-4BE6-BE89-71D8FB2035FD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27234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sv-S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94E69C-C28A-4BE6-BE89-71D8FB2035FD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363532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94E69C-C28A-4BE6-BE89-71D8FB2035FD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22508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0" fontAlgn="base" latinLnBrk="0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94E69C-C28A-4BE6-BE89-71D8FB2035FD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903252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94E69C-C28A-4BE6-BE89-71D8FB2035FD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257501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87313" indent="-87313" algn="just"/>
            <a:endParaRPr lang="en-US" sz="1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94E69C-C28A-4BE6-BE89-71D8FB2035FD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555557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94E69C-C28A-4BE6-BE89-71D8FB2035FD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423742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94E69C-C28A-4BE6-BE89-71D8FB2035FD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320281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94E69C-C28A-4BE6-BE89-71D8FB2035FD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574671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94E69C-C28A-4BE6-BE89-71D8FB2035FD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634813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94E69C-C28A-4BE6-BE89-71D8FB2035FD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38883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: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3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" r="24990"/>
          <a:stretch/>
        </p:blipFill>
        <p:spPr bwMode="gray">
          <a:xfrm>
            <a:off x="2" y="0"/>
            <a:ext cx="9145586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Placeholder 5"/>
          <p:cNvSpPr>
            <a:spLocks noGrp="1"/>
          </p:cNvSpPr>
          <p:nvPr>
            <p:ph type="body" sz="quarter" idx="16"/>
          </p:nvPr>
        </p:nvSpPr>
        <p:spPr bwMode="gray">
          <a:xfrm>
            <a:off x="334800" y="365752"/>
            <a:ext cx="1530000" cy="2304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900" cap="all" baseline="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3"/>
          </p:nvPr>
        </p:nvSpPr>
        <p:spPr bwMode="gray">
          <a:xfrm>
            <a:off x="334800" y="5000633"/>
            <a:ext cx="7235912" cy="224432"/>
          </a:xfrm>
        </p:spPr>
        <p:txBody>
          <a:bodyPr lIns="0" tIns="0" rIns="0" bIns="0" anchor="b"/>
          <a:lstStyle>
            <a:lvl1pPr marL="1588" indent="0">
              <a:buFont typeface="Arial" panose="020B0604020202020204" pitchFamily="34" charset="0"/>
              <a:buNone/>
              <a:defRPr sz="1000" cap="all" baseline="0"/>
            </a:lvl1pPr>
            <a:lvl2pPr marL="1588" indent="0">
              <a:buNone/>
              <a:defRPr sz="1000" cap="all" baseline="0"/>
            </a:lvl2pPr>
            <a:lvl3pPr marL="1588" indent="0">
              <a:buNone/>
              <a:defRPr sz="1000" cap="all" baseline="0"/>
            </a:lvl3pPr>
            <a:lvl4pPr marL="1588" indent="0">
              <a:buNone/>
              <a:defRPr sz="1000" cap="all" baseline="0"/>
            </a:lvl4pPr>
            <a:lvl5pPr marL="1588" indent="0">
              <a:buNone/>
              <a:defRPr sz="1000" cap="all" baseline="0"/>
            </a:lvl5pPr>
            <a:lvl6pPr marL="1588" indent="0">
              <a:buNone/>
              <a:defRPr sz="1000" cap="all" baseline="0"/>
            </a:lvl6pPr>
            <a:lvl7pPr marL="1588" indent="0">
              <a:buNone/>
              <a:defRPr sz="1000" cap="all" baseline="0"/>
            </a:lvl7pPr>
            <a:lvl8pPr marL="1588" indent="0">
              <a:buNone/>
              <a:defRPr sz="1000" cap="all" baseline="0"/>
            </a:lvl8pPr>
            <a:lvl9pPr marL="1588" indent="0">
              <a:buNone/>
              <a:defRPr sz="1000" cap="all" baseline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34800" y="5205567"/>
            <a:ext cx="7235912" cy="504000"/>
          </a:xfrm>
        </p:spPr>
        <p:txBody>
          <a:bodyPr lIns="0" tIns="0" rIns="0" bIns="0"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34800" y="5751515"/>
            <a:ext cx="7235910" cy="360865"/>
          </a:xfrm>
        </p:spPr>
        <p:txBody>
          <a:bodyPr lIns="0" tIns="0" rIns="0" bIns="0"/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4"/>
          </p:nvPr>
        </p:nvSpPr>
        <p:spPr bwMode="gray">
          <a:xfrm>
            <a:off x="334800" y="6109996"/>
            <a:ext cx="7235911" cy="280092"/>
          </a:xfr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  <a:lvl6pPr marL="0" indent="0">
              <a:buNone/>
              <a:defRPr/>
            </a:lvl6pPr>
            <a:lvl7pPr marL="0" indent="0">
              <a:buNone/>
              <a:defRPr/>
            </a:lvl7pPr>
            <a:lvl8pPr marL="0" indent="0">
              <a:buNone/>
              <a:defRPr/>
            </a:lvl8pPr>
            <a:lvl9pPr marL="0" indent="0">
              <a:buNone/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Rectangle 16"/>
          <p:cNvSpPr/>
          <p:nvPr userDrawn="1"/>
        </p:nvSpPr>
        <p:spPr bwMode="gray">
          <a:xfrm>
            <a:off x="244800" y="4828013"/>
            <a:ext cx="413300" cy="1583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de-DE" sz="3200" b="1" dirty="0">
                <a:solidFill>
                  <a:schemeClr val="bg2"/>
                </a:solidFill>
              </a:rPr>
              <a:t>—</a:t>
            </a:r>
            <a:endParaRPr lang="en-US" sz="3200" b="1" dirty="0">
              <a:solidFill>
                <a:schemeClr val="bg2"/>
              </a:solidFill>
            </a:endParaRPr>
          </a:p>
        </p:txBody>
      </p:sp>
      <p:pic>
        <p:nvPicPr>
          <p:cNvPr id="12" name="Picture 19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938000" y="6160150"/>
            <a:ext cx="873621" cy="334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96810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: 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 lvl="8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17488BFE-015E-452C-932B-DB979AC8F282}" type="datetime4">
              <a:rPr lang="en-US" smtClean="0"/>
              <a:t>December 14, 2020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3"/>
          </p:nvPr>
        </p:nvSpPr>
        <p:spPr bwMode="gray">
          <a:xfrm>
            <a:off x="248267" y="1085213"/>
            <a:ext cx="8643600" cy="504000"/>
          </a:xfr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246939" y="1931192"/>
            <a:ext cx="86436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15"/>
          <p:cNvSpPr>
            <a:spLocks noGrp="1"/>
          </p:cNvSpPr>
          <p:nvPr>
            <p:ph sz="quarter" idx="19"/>
          </p:nvPr>
        </p:nvSpPr>
        <p:spPr bwMode="gray">
          <a:xfrm>
            <a:off x="246938" y="2317637"/>
            <a:ext cx="8643600" cy="3594212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246939" y="2238495"/>
            <a:ext cx="86436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26165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: Title (5) &amp; Content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 lvl="8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D8D4DCBA-4C7A-4489-854D-9CAAB7BC53A0}" type="datetime4">
              <a:rPr lang="en-US" smtClean="0"/>
              <a:t>December 14, 2020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3203113" y="2238495"/>
            <a:ext cx="273287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6158617" y="2238495"/>
            <a:ext cx="273287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7"/>
          </p:nvPr>
        </p:nvSpPr>
        <p:spPr bwMode="gray">
          <a:xfrm>
            <a:off x="3204304" y="1931193"/>
            <a:ext cx="2732875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18"/>
          </p:nvPr>
        </p:nvSpPr>
        <p:spPr bwMode="gray">
          <a:xfrm>
            <a:off x="6158617" y="1931194"/>
            <a:ext cx="2732875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Text Placeholder 11"/>
          <p:cNvSpPr>
            <a:spLocks noGrp="1"/>
          </p:cNvSpPr>
          <p:nvPr>
            <p:ph type="body" sz="quarter" idx="19"/>
          </p:nvPr>
        </p:nvSpPr>
        <p:spPr bwMode="gray">
          <a:xfrm>
            <a:off x="247610" y="4103378"/>
            <a:ext cx="2732875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20" name="Straight Connector 19"/>
          <p:cNvCxnSpPr/>
          <p:nvPr userDrawn="1"/>
        </p:nvCxnSpPr>
        <p:spPr bwMode="gray">
          <a:xfrm>
            <a:off x="247610" y="4410680"/>
            <a:ext cx="273287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 bwMode="gray">
          <a:xfrm>
            <a:off x="3203113" y="4410680"/>
            <a:ext cx="273287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 bwMode="gray">
          <a:xfrm>
            <a:off x="6158617" y="4410680"/>
            <a:ext cx="273287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3" name="Text Placeholder 11"/>
          <p:cNvSpPr>
            <a:spLocks noGrp="1"/>
          </p:cNvSpPr>
          <p:nvPr>
            <p:ph type="body" sz="quarter" idx="20"/>
          </p:nvPr>
        </p:nvSpPr>
        <p:spPr bwMode="gray">
          <a:xfrm>
            <a:off x="3203113" y="4103378"/>
            <a:ext cx="2732875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4" name="Text Placeholder 11"/>
          <p:cNvSpPr>
            <a:spLocks noGrp="1"/>
          </p:cNvSpPr>
          <p:nvPr>
            <p:ph type="body" sz="quarter" idx="21"/>
          </p:nvPr>
        </p:nvSpPr>
        <p:spPr bwMode="gray">
          <a:xfrm>
            <a:off x="6158617" y="4103378"/>
            <a:ext cx="2732875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5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247609" y="1931195"/>
            <a:ext cx="2732875" cy="1809264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6" name="Content Placeholder 3"/>
          <p:cNvSpPr>
            <a:spLocks noGrp="1"/>
          </p:cNvSpPr>
          <p:nvPr>
            <p:ph sz="quarter" idx="24"/>
          </p:nvPr>
        </p:nvSpPr>
        <p:spPr bwMode="gray">
          <a:xfrm>
            <a:off x="3204304" y="2317642"/>
            <a:ext cx="2732875" cy="1422821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7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6158617" y="2317642"/>
            <a:ext cx="2732875" cy="1422821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8" name="Content Placeholder 3"/>
          <p:cNvSpPr>
            <a:spLocks noGrp="1"/>
          </p:cNvSpPr>
          <p:nvPr>
            <p:ph sz="quarter" idx="26"/>
          </p:nvPr>
        </p:nvSpPr>
        <p:spPr bwMode="gray">
          <a:xfrm>
            <a:off x="247609" y="4489827"/>
            <a:ext cx="2732875" cy="1422821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9" name="Content Placeholder 3"/>
          <p:cNvSpPr>
            <a:spLocks noGrp="1"/>
          </p:cNvSpPr>
          <p:nvPr>
            <p:ph sz="quarter" idx="27"/>
          </p:nvPr>
        </p:nvSpPr>
        <p:spPr bwMode="gray">
          <a:xfrm>
            <a:off x="3203113" y="4489827"/>
            <a:ext cx="2732875" cy="1422821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0" name="Content Placeholder 3"/>
          <p:cNvSpPr>
            <a:spLocks noGrp="1"/>
          </p:cNvSpPr>
          <p:nvPr>
            <p:ph sz="quarter" idx="28"/>
          </p:nvPr>
        </p:nvSpPr>
        <p:spPr bwMode="gray">
          <a:xfrm>
            <a:off x="6158617" y="4489827"/>
            <a:ext cx="2732875" cy="1422821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2" name="Subtitle 2"/>
          <p:cNvSpPr>
            <a:spLocks noGrp="1"/>
          </p:cNvSpPr>
          <p:nvPr>
            <p:ph type="subTitle" idx="13"/>
          </p:nvPr>
        </p:nvSpPr>
        <p:spPr bwMode="gray">
          <a:xfrm>
            <a:off x="247611" y="1085213"/>
            <a:ext cx="8643600" cy="504000"/>
          </a:xfr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9303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: Title (6) &amp; Content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 lvl="8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D8D4DCBA-4C7A-4489-854D-9CAAB7BC53A0}" type="datetime4">
              <a:rPr lang="en-US" smtClean="0"/>
              <a:t>December 14, 2020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247610" y="1931193"/>
            <a:ext cx="2732875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8" name="Straight Connector 7"/>
          <p:cNvCxnSpPr/>
          <p:nvPr userDrawn="1"/>
        </p:nvCxnSpPr>
        <p:spPr bwMode="gray">
          <a:xfrm>
            <a:off x="247610" y="2238495"/>
            <a:ext cx="273287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 bwMode="gray">
          <a:xfrm>
            <a:off x="3203212" y="2238495"/>
            <a:ext cx="273287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6158814" y="2238495"/>
            <a:ext cx="273287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7"/>
          </p:nvPr>
        </p:nvSpPr>
        <p:spPr bwMode="gray">
          <a:xfrm>
            <a:off x="3204304" y="1931193"/>
            <a:ext cx="2731783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18"/>
          </p:nvPr>
        </p:nvSpPr>
        <p:spPr bwMode="gray">
          <a:xfrm>
            <a:off x="6158814" y="1931193"/>
            <a:ext cx="2732875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Text Placeholder 11"/>
          <p:cNvSpPr>
            <a:spLocks noGrp="1"/>
          </p:cNvSpPr>
          <p:nvPr>
            <p:ph type="body" sz="quarter" idx="19"/>
          </p:nvPr>
        </p:nvSpPr>
        <p:spPr bwMode="gray">
          <a:xfrm>
            <a:off x="247610" y="4103378"/>
            <a:ext cx="2732875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20" name="Straight Connector 19"/>
          <p:cNvCxnSpPr/>
          <p:nvPr userDrawn="1"/>
        </p:nvCxnSpPr>
        <p:spPr bwMode="gray">
          <a:xfrm>
            <a:off x="247610" y="4410680"/>
            <a:ext cx="273287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 bwMode="gray">
          <a:xfrm>
            <a:off x="3203212" y="4410680"/>
            <a:ext cx="273287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 bwMode="gray">
          <a:xfrm>
            <a:off x="6158814" y="4410680"/>
            <a:ext cx="273287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3" name="Text Placeholder 11"/>
          <p:cNvSpPr>
            <a:spLocks noGrp="1"/>
          </p:cNvSpPr>
          <p:nvPr>
            <p:ph type="body" sz="quarter" idx="20"/>
          </p:nvPr>
        </p:nvSpPr>
        <p:spPr bwMode="gray">
          <a:xfrm>
            <a:off x="3203212" y="4103378"/>
            <a:ext cx="2732875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4" name="Text Placeholder 11"/>
          <p:cNvSpPr>
            <a:spLocks noGrp="1"/>
          </p:cNvSpPr>
          <p:nvPr>
            <p:ph type="body" sz="quarter" idx="21"/>
          </p:nvPr>
        </p:nvSpPr>
        <p:spPr bwMode="gray">
          <a:xfrm>
            <a:off x="6158814" y="4103378"/>
            <a:ext cx="2732875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5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247610" y="2317642"/>
            <a:ext cx="2732875" cy="1422821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6" name="Content Placeholder 3"/>
          <p:cNvSpPr>
            <a:spLocks noGrp="1"/>
          </p:cNvSpPr>
          <p:nvPr>
            <p:ph sz="quarter" idx="24"/>
          </p:nvPr>
        </p:nvSpPr>
        <p:spPr bwMode="gray">
          <a:xfrm>
            <a:off x="3204304" y="2317642"/>
            <a:ext cx="2731783" cy="1422821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7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6158814" y="2317642"/>
            <a:ext cx="2732875" cy="1422821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8" name="Content Placeholder 3"/>
          <p:cNvSpPr>
            <a:spLocks noGrp="1"/>
          </p:cNvSpPr>
          <p:nvPr>
            <p:ph sz="quarter" idx="26"/>
          </p:nvPr>
        </p:nvSpPr>
        <p:spPr bwMode="gray">
          <a:xfrm>
            <a:off x="247610" y="4489827"/>
            <a:ext cx="2732875" cy="1422821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9" name="Content Placeholder 3"/>
          <p:cNvSpPr>
            <a:spLocks noGrp="1"/>
          </p:cNvSpPr>
          <p:nvPr>
            <p:ph sz="quarter" idx="27"/>
          </p:nvPr>
        </p:nvSpPr>
        <p:spPr bwMode="gray">
          <a:xfrm>
            <a:off x="3203212" y="4489827"/>
            <a:ext cx="2732875" cy="1422821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0" name="Content Placeholder 3"/>
          <p:cNvSpPr>
            <a:spLocks noGrp="1"/>
          </p:cNvSpPr>
          <p:nvPr>
            <p:ph sz="quarter" idx="28"/>
          </p:nvPr>
        </p:nvSpPr>
        <p:spPr bwMode="gray">
          <a:xfrm>
            <a:off x="6158814" y="4489827"/>
            <a:ext cx="2732875" cy="1422821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2" name="Subtitle 2"/>
          <p:cNvSpPr>
            <a:spLocks noGrp="1"/>
          </p:cNvSpPr>
          <p:nvPr>
            <p:ph type="subTitle" idx="13"/>
          </p:nvPr>
        </p:nvSpPr>
        <p:spPr bwMode="gray">
          <a:xfrm>
            <a:off x="246938" y="1085213"/>
            <a:ext cx="8643600" cy="504000"/>
          </a:xfr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995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: Title &amp; Content (8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 lvl="8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C55A9BD9-4AB1-4514-A40D-3F4348B2CF77}" type="datetime4">
              <a:rPr lang="en-US" smtClean="0"/>
              <a:t>December 14, 2020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248662" y="1931193"/>
            <a:ext cx="86436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32"/>
          <p:cNvSpPr>
            <a:spLocks noGrp="1"/>
          </p:cNvSpPr>
          <p:nvPr>
            <p:ph sz="quarter" idx="25"/>
          </p:nvPr>
        </p:nvSpPr>
        <p:spPr bwMode="gray">
          <a:xfrm>
            <a:off x="247610" y="2317637"/>
            <a:ext cx="1304496" cy="1710000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32"/>
          <p:cNvSpPr>
            <a:spLocks noGrp="1"/>
          </p:cNvSpPr>
          <p:nvPr>
            <p:ph sz="quarter" idx="26"/>
          </p:nvPr>
        </p:nvSpPr>
        <p:spPr bwMode="gray">
          <a:xfrm>
            <a:off x="247610" y="4202644"/>
            <a:ext cx="1304496" cy="1710000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ontent Placeholder 32"/>
          <p:cNvSpPr>
            <a:spLocks noGrp="1"/>
          </p:cNvSpPr>
          <p:nvPr>
            <p:ph sz="quarter" idx="27"/>
          </p:nvPr>
        </p:nvSpPr>
        <p:spPr bwMode="gray">
          <a:xfrm>
            <a:off x="4623278" y="2317637"/>
            <a:ext cx="1304496" cy="1710000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32"/>
          <p:cNvSpPr>
            <a:spLocks noGrp="1"/>
          </p:cNvSpPr>
          <p:nvPr>
            <p:ph sz="quarter" idx="28"/>
          </p:nvPr>
        </p:nvSpPr>
        <p:spPr bwMode="gray">
          <a:xfrm>
            <a:off x="4623278" y="4202644"/>
            <a:ext cx="1304496" cy="1710000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18"/>
          </p:nvPr>
        </p:nvSpPr>
        <p:spPr bwMode="gray">
          <a:xfrm>
            <a:off x="1692518" y="2317637"/>
            <a:ext cx="2818756" cy="1710000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1692518" y="4202644"/>
            <a:ext cx="2818756" cy="1710000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6071518" y="2317637"/>
            <a:ext cx="2819974" cy="1710000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6071518" y="4202644"/>
            <a:ext cx="2819974" cy="1710000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Subtitle 2"/>
          <p:cNvSpPr>
            <a:spLocks noGrp="1"/>
          </p:cNvSpPr>
          <p:nvPr>
            <p:ph type="subTitle" idx="13"/>
          </p:nvPr>
        </p:nvSpPr>
        <p:spPr bwMode="gray">
          <a:xfrm>
            <a:off x="247611" y="1085213"/>
            <a:ext cx="8643600" cy="504000"/>
          </a:xfr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24" name="Straight Connector 23"/>
          <p:cNvCxnSpPr/>
          <p:nvPr userDrawn="1"/>
        </p:nvCxnSpPr>
        <p:spPr bwMode="gray">
          <a:xfrm>
            <a:off x="248662" y="2238495"/>
            <a:ext cx="86415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 bwMode="gray">
          <a:xfrm>
            <a:off x="248662" y="4115141"/>
            <a:ext cx="86415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54928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: Title &amp; Content (8) &amp;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 lvl="8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EAB57985-67D2-4C2C-8135-28A8C8C95665}" type="datetime4">
              <a:rPr lang="en-US" smtClean="0"/>
              <a:t>December 14, 2020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247611" y="1931193"/>
            <a:ext cx="86436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32"/>
          <p:cNvSpPr>
            <a:spLocks noGrp="1"/>
          </p:cNvSpPr>
          <p:nvPr>
            <p:ph sz="quarter" idx="25"/>
          </p:nvPr>
        </p:nvSpPr>
        <p:spPr bwMode="gray">
          <a:xfrm>
            <a:off x="246938" y="2317637"/>
            <a:ext cx="1304496" cy="1436400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32"/>
          <p:cNvSpPr>
            <a:spLocks noGrp="1"/>
          </p:cNvSpPr>
          <p:nvPr>
            <p:ph sz="quarter" idx="26"/>
          </p:nvPr>
        </p:nvSpPr>
        <p:spPr bwMode="gray">
          <a:xfrm>
            <a:off x="246938" y="3925788"/>
            <a:ext cx="1304496" cy="1436400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ontent Placeholder 32"/>
          <p:cNvSpPr>
            <a:spLocks noGrp="1"/>
          </p:cNvSpPr>
          <p:nvPr>
            <p:ph sz="quarter" idx="27"/>
          </p:nvPr>
        </p:nvSpPr>
        <p:spPr bwMode="gray">
          <a:xfrm>
            <a:off x="4623278" y="2317636"/>
            <a:ext cx="1304496" cy="1436400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32"/>
          <p:cNvSpPr>
            <a:spLocks noGrp="1"/>
          </p:cNvSpPr>
          <p:nvPr>
            <p:ph sz="quarter" idx="28"/>
          </p:nvPr>
        </p:nvSpPr>
        <p:spPr bwMode="gray">
          <a:xfrm>
            <a:off x="4623278" y="3925788"/>
            <a:ext cx="1304496" cy="1436400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18"/>
          </p:nvPr>
        </p:nvSpPr>
        <p:spPr bwMode="gray">
          <a:xfrm>
            <a:off x="1693275" y="2317636"/>
            <a:ext cx="2818566" cy="1436400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1693275" y="3925788"/>
            <a:ext cx="2818566" cy="1436400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6071519" y="2317636"/>
            <a:ext cx="2819974" cy="1436400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6071519" y="3925788"/>
            <a:ext cx="2819974" cy="1436400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5" name="Text Placeholder 7"/>
          <p:cNvSpPr>
            <a:spLocks noGrp="1"/>
          </p:cNvSpPr>
          <p:nvPr>
            <p:ph type="body" sz="quarter" idx="29"/>
          </p:nvPr>
        </p:nvSpPr>
        <p:spPr bwMode="gray">
          <a:xfrm>
            <a:off x="247611" y="5453067"/>
            <a:ext cx="8643600" cy="460375"/>
          </a:xfrm>
          <a:solidFill>
            <a:schemeClr val="accent3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Subtitle 2"/>
          <p:cNvSpPr>
            <a:spLocks noGrp="1"/>
          </p:cNvSpPr>
          <p:nvPr>
            <p:ph type="subTitle" idx="13"/>
          </p:nvPr>
        </p:nvSpPr>
        <p:spPr bwMode="gray">
          <a:xfrm>
            <a:off x="247611" y="1085213"/>
            <a:ext cx="8643600" cy="504000"/>
          </a:xfr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26" name="Straight Connector 25"/>
          <p:cNvCxnSpPr/>
          <p:nvPr userDrawn="1"/>
        </p:nvCxnSpPr>
        <p:spPr bwMode="gray">
          <a:xfrm>
            <a:off x="247611" y="2238495"/>
            <a:ext cx="86415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 userDrawn="1"/>
        </p:nvCxnSpPr>
        <p:spPr bwMode="gray">
          <a:xfrm>
            <a:off x="247611" y="3839912"/>
            <a:ext cx="86415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23325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: Conten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30316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 lvl="8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8F8FF341-9601-47A6-A4C1-F2885A66BAA5}" type="datetime4">
              <a:rPr lang="en-US" smtClean="0"/>
              <a:t>December 14, 2020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4687644" y="1931194"/>
            <a:ext cx="4204045" cy="3980918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246938" y="1931194"/>
            <a:ext cx="4203305" cy="3980918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3"/>
          </p:nvPr>
        </p:nvSpPr>
        <p:spPr bwMode="gray">
          <a:xfrm>
            <a:off x="246937" y="1085213"/>
            <a:ext cx="8643600" cy="504000"/>
          </a:xfr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21" name="Straight Connector 20"/>
          <p:cNvCxnSpPr/>
          <p:nvPr userDrawn="1"/>
        </p:nvCxnSpPr>
        <p:spPr bwMode="gray">
          <a:xfrm>
            <a:off x="4572793" y="1931194"/>
            <a:ext cx="0" cy="398091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690357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: Content (2) &amp;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 lvl="8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8F8FF341-9601-47A6-A4C1-F2885A66BAA5}" type="datetime4">
              <a:rPr lang="en-US" smtClean="0"/>
              <a:t>December 14, 2020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4687644" y="1931194"/>
            <a:ext cx="4204045" cy="3430994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246938" y="1931194"/>
            <a:ext cx="4203305" cy="3430994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3"/>
          </p:nvPr>
        </p:nvSpPr>
        <p:spPr bwMode="gray">
          <a:xfrm>
            <a:off x="246937" y="1085213"/>
            <a:ext cx="8643600" cy="504000"/>
          </a:xfr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21" name="Straight Connector 20"/>
          <p:cNvCxnSpPr/>
          <p:nvPr userDrawn="1"/>
        </p:nvCxnSpPr>
        <p:spPr bwMode="gray">
          <a:xfrm>
            <a:off x="4572793" y="1931194"/>
            <a:ext cx="0" cy="343099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3" name="Text Placeholder 7"/>
          <p:cNvSpPr>
            <a:spLocks noGrp="1"/>
          </p:cNvSpPr>
          <p:nvPr>
            <p:ph type="body" sz="quarter" idx="29"/>
          </p:nvPr>
        </p:nvSpPr>
        <p:spPr bwMode="gray">
          <a:xfrm>
            <a:off x="246937" y="5453067"/>
            <a:ext cx="8643600" cy="460375"/>
          </a:xfrm>
          <a:solidFill>
            <a:schemeClr val="accent3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23732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: Title (2) &amp; Conten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 lvl="8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8F8FF341-9601-47A6-A4C1-F2885A66BAA5}" type="datetime4">
              <a:rPr lang="en-US" smtClean="0"/>
              <a:t>December 14, 2020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246938" y="1931193"/>
            <a:ext cx="420463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8" name="Straight Connector 7"/>
          <p:cNvCxnSpPr/>
          <p:nvPr userDrawn="1"/>
        </p:nvCxnSpPr>
        <p:spPr bwMode="gray">
          <a:xfrm>
            <a:off x="246938" y="2238495"/>
            <a:ext cx="420463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 bwMode="gray">
          <a:xfrm>
            <a:off x="4687059" y="2238495"/>
            <a:ext cx="420463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0" name="Text Placeholder 11"/>
          <p:cNvSpPr>
            <a:spLocks noGrp="1"/>
          </p:cNvSpPr>
          <p:nvPr>
            <p:ph type="body" sz="quarter" idx="17"/>
          </p:nvPr>
        </p:nvSpPr>
        <p:spPr bwMode="gray">
          <a:xfrm>
            <a:off x="4687059" y="1931193"/>
            <a:ext cx="420463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4687644" y="2317638"/>
            <a:ext cx="4204045" cy="3594474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246938" y="2317638"/>
            <a:ext cx="4203305" cy="3594474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3"/>
          </p:nvPr>
        </p:nvSpPr>
        <p:spPr bwMode="gray">
          <a:xfrm>
            <a:off x="246937" y="1085213"/>
            <a:ext cx="8643600" cy="504000"/>
          </a:xfr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21" name="Straight Connector 20"/>
          <p:cNvCxnSpPr/>
          <p:nvPr userDrawn="1"/>
        </p:nvCxnSpPr>
        <p:spPr bwMode="gray">
          <a:xfrm>
            <a:off x="4572793" y="2388843"/>
            <a:ext cx="0" cy="352327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85363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: Title (2) &amp; Content (2) &amp;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 lvl="8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7C4B2A68-D918-4286-96B0-6342B7A9B0CE}" type="datetime4">
              <a:rPr lang="en-US" smtClean="0"/>
              <a:t>December 14, 2020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246936" y="1931193"/>
            <a:ext cx="420463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8" name="Straight Connector 7"/>
          <p:cNvCxnSpPr/>
          <p:nvPr userDrawn="1"/>
        </p:nvCxnSpPr>
        <p:spPr bwMode="gray">
          <a:xfrm>
            <a:off x="246936" y="2238495"/>
            <a:ext cx="420463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 bwMode="gray">
          <a:xfrm>
            <a:off x="4687059" y="2238495"/>
            <a:ext cx="420463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0" name="Text Placeholder 11"/>
          <p:cNvSpPr>
            <a:spLocks noGrp="1"/>
          </p:cNvSpPr>
          <p:nvPr>
            <p:ph type="body" sz="quarter" idx="17"/>
          </p:nvPr>
        </p:nvSpPr>
        <p:spPr bwMode="gray">
          <a:xfrm>
            <a:off x="4687059" y="1931193"/>
            <a:ext cx="420463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4687059" y="2317638"/>
            <a:ext cx="4204630" cy="2950978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246936" y="2317638"/>
            <a:ext cx="4204630" cy="2950978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4" name="Straight Connector 13"/>
          <p:cNvCxnSpPr/>
          <p:nvPr userDrawn="1"/>
        </p:nvCxnSpPr>
        <p:spPr bwMode="gray">
          <a:xfrm>
            <a:off x="4572793" y="2388842"/>
            <a:ext cx="0" cy="287977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5" name="Text Placeholder 7"/>
          <p:cNvSpPr>
            <a:spLocks noGrp="1"/>
          </p:cNvSpPr>
          <p:nvPr>
            <p:ph type="body" sz="quarter" idx="29"/>
          </p:nvPr>
        </p:nvSpPr>
        <p:spPr bwMode="gray">
          <a:xfrm>
            <a:off x="247100" y="5453067"/>
            <a:ext cx="8643600" cy="460375"/>
          </a:xfrm>
          <a:solidFill>
            <a:schemeClr val="accent3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Subtitle 2"/>
          <p:cNvSpPr>
            <a:spLocks noGrp="1"/>
          </p:cNvSpPr>
          <p:nvPr>
            <p:ph type="subTitle" idx="13"/>
          </p:nvPr>
        </p:nvSpPr>
        <p:spPr bwMode="gray">
          <a:xfrm>
            <a:off x="246937" y="1085213"/>
            <a:ext cx="8643600" cy="504000"/>
          </a:xfr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5171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: Title (2) &amp; Content (2) /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 lvl="8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972E678C-17C0-4756-8034-8236E2D4136B}" type="datetime4">
              <a:rPr lang="en-US" smtClean="0"/>
              <a:t>December 14, 2020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247610" y="1931193"/>
            <a:ext cx="420463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8" name="Straight Connector 7"/>
          <p:cNvCxnSpPr/>
          <p:nvPr userDrawn="1"/>
        </p:nvCxnSpPr>
        <p:spPr bwMode="gray">
          <a:xfrm>
            <a:off x="247610" y="2238495"/>
            <a:ext cx="420463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 bwMode="gray">
          <a:xfrm>
            <a:off x="4683629" y="2238495"/>
            <a:ext cx="420463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0" name="Text Placeholder 11"/>
          <p:cNvSpPr>
            <a:spLocks noGrp="1"/>
          </p:cNvSpPr>
          <p:nvPr>
            <p:ph type="body" sz="quarter" idx="17"/>
          </p:nvPr>
        </p:nvSpPr>
        <p:spPr bwMode="gray">
          <a:xfrm>
            <a:off x="4686847" y="1931193"/>
            <a:ext cx="420463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4686847" y="2317638"/>
            <a:ext cx="4204630" cy="3594474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247610" y="2317638"/>
            <a:ext cx="4204630" cy="3594474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Gleichschenkliges Dreieck 46"/>
          <p:cNvSpPr/>
          <p:nvPr userDrawn="1"/>
        </p:nvSpPr>
        <p:spPr bwMode="gray">
          <a:xfrm rot="5400000">
            <a:off x="2814542" y="4103616"/>
            <a:ext cx="3523271" cy="93726"/>
          </a:xfrm>
          <a:prstGeom prst="triangle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349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</a:endParaRPr>
          </a:p>
        </p:txBody>
      </p:sp>
      <p:sp>
        <p:nvSpPr>
          <p:cNvPr id="16" name="Subtitle 2"/>
          <p:cNvSpPr>
            <a:spLocks noGrp="1"/>
          </p:cNvSpPr>
          <p:nvPr>
            <p:ph type="subTitle" idx="13"/>
          </p:nvPr>
        </p:nvSpPr>
        <p:spPr bwMode="gray">
          <a:xfrm>
            <a:off x="246937" y="1085213"/>
            <a:ext cx="8643600" cy="504000"/>
          </a:xfr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01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: 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Placeholder 10"/>
          <p:cNvPicPr>
            <a:picLocks noChangeAspect="1"/>
          </p:cNvPicPr>
          <p:nvPr userDrawn="1"/>
        </p:nvPicPr>
        <p:blipFill rotWithShape="1">
          <a:blip r:embed="rId2"/>
          <a:srcRect l="4479" t="21637" r="20508" b="21637"/>
          <a:stretch/>
        </p:blipFill>
        <p:spPr bwMode="gray">
          <a:xfrm>
            <a:off x="2" y="0"/>
            <a:ext cx="9145586" cy="4610100"/>
          </a:xfrm>
          <a:prstGeom prst="rect">
            <a:avLst/>
          </a:prstGeom>
        </p:spPr>
      </p:pic>
      <p:sp>
        <p:nvSpPr>
          <p:cNvPr id="22" name="Text Placeholder 5"/>
          <p:cNvSpPr>
            <a:spLocks noGrp="1"/>
          </p:cNvSpPr>
          <p:nvPr>
            <p:ph type="body" sz="quarter" idx="16"/>
          </p:nvPr>
        </p:nvSpPr>
        <p:spPr bwMode="gray">
          <a:xfrm>
            <a:off x="334800" y="365752"/>
            <a:ext cx="1530000" cy="2304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900" cap="all" baseline="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3"/>
          </p:nvPr>
        </p:nvSpPr>
        <p:spPr bwMode="gray">
          <a:xfrm>
            <a:off x="334800" y="5000633"/>
            <a:ext cx="7235911" cy="224432"/>
          </a:xfrm>
        </p:spPr>
        <p:txBody>
          <a:bodyPr lIns="0" tIns="0" rIns="0" bIns="0" anchor="b"/>
          <a:lstStyle>
            <a:lvl1pPr marL="1588" indent="0">
              <a:buFont typeface="Arial" panose="020B0604020202020204" pitchFamily="34" charset="0"/>
              <a:buNone/>
              <a:defRPr sz="1000" cap="all" baseline="0"/>
            </a:lvl1pPr>
            <a:lvl2pPr marL="1588" indent="0">
              <a:buNone/>
              <a:defRPr sz="1000" cap="all" baseline="0"/>
            </a:lvl2pPr>
            <a:lvl3pPr marL="1588" indent="0">
              <a:buNone/>
              <a:defRPr sz="1000" cap="all" baseline="0"/>
            </a:lvl3pPr>
            <a:lvl4pPr marL="1588" indent="0">
              <a:buNone/>
              <a:defRPr sz="1000" cap="all" baseline="0"/>
            </a:lvl4pPr>
            <a:lvl5pPr marL="1588" indent="0">
              <a:buNone/>
              <a:defRPr sz="1000" cap="all" baseline="0"/>
            </a:lvl5pPr>
            <a:lvl6pPr marL="1588" indent="0">
              <a:buNone/>
              <a:defRPr sz="1000" cap="all" baseline="0"/>
            </a:lvl6pPr>
            <a:lvl7pPr marL="1588" indent="0">
              <a:buNone/>
              <a:defRPr sz="1000" cap="all" baseline="0"/>
            </a:lvl7pPr>
            <a:lvl8pPr marL="1588" indent="0">
              <a:buNone/>
              <a:defRPr sz="1000" cap="all" baseline="0"/>
            </a:lvl8pPr>
            <a:lvl9pPr marL="1588" indent="0">
              <a:buNone/>
              <a:defRPr sz="1000" cap="all" baseline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 bwMode="gray">
          <a:xfrm>
            <a:off x="334800" y="5205567"/>
            <a:ext cx="7235911" cy="504001"/>
          </a:xfrm>
        </p:spPr>
        <p:txBody>
          <a:bodyPr lIns="0" tIns="0" rIns="0" bIns="0"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 bwMode="gray">
          <a:xfrm>
            <a:off x="334800" y="5751515"/>
            <a:ext cx="7235911" cy="360865"/>
          </a:xfrm>
        </p:spPr>
        <p:txBody>
          <a:bodyPr lIns="0" tIns="0" rIns="0" bIns="0"/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ext Placeholder 19"/>
          <p:cNvSpPr>
            <a:spLocks noGrp="1"/>
          </p:cNvSpPr>
          <p:nvPr>
            <p:ph type="body" sz="quarter" idx="14"/>
          </p:nvPr>
        </p:nvSpPr>
        <p:spPr bwMode="gray">
          <a:xfrm>
            <a:off x="334800" y="6109996"/>
            <a:ext cx="7235911" cy="280092"/>
          </a:xfr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  <a:lvl6pPr marL="0" indent="0">
              <a:buNone/>
              <a:defRPr/>
            </a:lvl6pPr>
            <a:lvl7pPr marL="0" indent="0">
              <a:buNone/>
              <a:defRPr/>
            </a:lvl7pPr>
            <a:lvl8pPr marL="0" indent="0">
              <a:buNone/>
              <a:defRPr/>
            </a:lvl8pPr>
            <a:lvl9pPr marL="0" indent="0">
              <a:buNone/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Rectangle 18"/>
          <p:cNvSpPr/>
          <p:nvPr userDrawn="1"/>
        </p:nvSpPr>
        <p:spPr bwMode="gray">
          <a:xfrm>
            <a:off x="244800" y="4828013"/>
            <a:ext cx="413300" cy="1583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de-DE" sz="3200" b="1" dirty="0">
                <a:solidFill>
                  <a:schemeClr val="bg2"/>
                </a:solidFill>
              </a:rPr>
              <a:t>—</a:t>
            </a:r>
            <a:endParaRPr lang="en-US" sz="3200" b="1" dirty="0">
              <a:solidFill>
                <a:schemeClr val="bg2"/>
              </a:solidFill>
            </a:endParaRPr>
          </a:p>
        </p:txBody>
      </p:sp>
      <p:pic>
        <p:nvPicPr>
          <p:cNvPr id="14" name="Picture 19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938000" y="6160150"/>
            <a:ext cx="873621" cy="334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424414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: Title (2) &amp; Content (2) &amp; Box /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leichschenkliges Dreieck 46"/>
          <p:cNvSpPr/>
          <p:nvPr userDrawn="1"/>
        </p:nvSpPr>
        <p:spPr bwMode="gray">
          <a:xfrm rot="5400000">
            <a:off x="3136210" y="3782064"/>
            <a:ext cx="2879662" cy="93450"/>
          </a:xfrm>
          <a:prstGeom prst="triangle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349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 lvl="8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46DACDBD-1DFF-49BA-A724-30E3F02C142A}" type="datetime4">
              <a:rPr lang="en-US" smtClean="0"/>
              <a:t>December 14, 2020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247610" y="1931193"/>
            <a:ext cx="420463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8" name="Straight Connector 7"/>
          <p:cNvCxnSpPr/>
          <p:nvPr userDrawn="1"/>
        </p:nvCxnSpPr>
        <p:spPr bwMode="gray">
          <a:xfrm>
            <a:off x="247610" y="2238606"/>
            <a:ext cx="420463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 bwMode="gray">
          <a:xfrm>
            <a:off x="4683629" y="2238606"/>
            <a:ext cx="420463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0" name="Text Placeholder 11"/>
          <p:cNvSpPr>
            <a:spLocks noGrp="1"/>
          </p:cNvSpPr>
          <p:nvPr>
            <p:ph type="body" sz="quarter" idx="17"/>
          </p:nvPr>
        </p:nvSpPr>
        <p:spPr bwMode="gray">
          <a:xfrm>
            <a:off x="4686848" y="1931193"/>
            <a:ext cx="420463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4686848" y="2317752"/>
            <a:ext cx="4204630" cy="2950867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247610" y="2317752"/>
            <a:ext cx="4204630" cy="2950867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9"/>
          </p:nvPr>
        </p:nvSpPr>
        <p:spPr bwMode="gray">
          <a:xfrm>
            <a:off x="246936" y="5453067"/>
            <a:ext cx="8643600" cy="460375"/>
          </a:xfrm>
          <a:solidFill>
            <a:schemeClr val="accent3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3"/>
          </p:nvPr>
        </p:nvSpPr>
        <p:spPr bwMode="gray">
          <a:xfrm>
            <a:off x="246936" y="1085213"/>
            <a:ext cx="8643600" cy="504000"/>
          </a:xfr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658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: Title &amp; Conten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 lvl="8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C1783AD7-02E7-449A-B532-68934DEE5F31}" type="datetime4">
              <a:rPr lang="en-US" smtClean="0"/>
              <a:t>December 14, 2020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247610" y="1931192"/>
            <a:ext cx="420463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8" name="Straight Connector 7"/>
          <p:cNvCxnSpPr/>
          <p:nvPr userDrawn="1"/>
        </p:nvCxnSpPr>
        <p:spPr bwMode="gray">
          <a:xfrm>
            <a:off x="247610" y="2238495"/>
            <a:ext cx="420463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4686848" y="1931195"/>
            <a:ext cx="4204630" cy="3980918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247610" y="2317641"/>
            <a:ext cx="4204630" cy="3594475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3"/>
          </p:nvPr>
        </p:nvSpPr>
        <p:spPr bwMode="gray">
          <a:xfrm>
            <a:off x="246938" y="1085213"/>
            <a:ext cx="8643600" cy="504000"/>
          </a:xfr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24" name="Straight Connector 23"/>
          <p:cNvCxnSpPr/>
          <p:nvPr userDrawn="1"/>
        </p:nvCxnSpPr>
        <p:spPr bwMode="gray">
          <a:xfrm>
            <a:off x="4572793" y="2388843"/>
            <a:ext cx="0" cy="352327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14869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: Conten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 lvl="8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8F8FF341-9601-47A6-A4C1-F2885A66BAA5}" type="datetime4">
              <a:rPr lang="en-US" smtClean="0"/>
              <a:t>December 14, 2020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4687644" y="1931194"/>
            <a:ext cx="4204045" cy="1922496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246938" y="1931194"/>
            <a:ext cx="4203305" cy="3980918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3"/>
          </p:nvPr>
        </p:nvSpPr>
        <p:spPr bwMode="gray">
          <a:xfrm>
            <a:off x="246937" y="1085213"/>
            <a:ext cx="8643600" cy="504000"/>
          </a:xfr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21" name="Straight Connector 20"/>
          <p:cNvCxnSpPr/>
          <p:nvPr userDrawn="1"/>
        </p:nvCxnSpPr>
        <p:spPr bwMode="gray">
          <a:xfrm>
            <a:off x="4572793" y="1931194"/>
            <a:ext cx="0" cy="398091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4687644" y="3989616"/>
            <a:ext cx="4204045" cy="1922496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2660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: Title (3) &amp; Conten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247610" y="1931193"/>
            <a:ext cx="420463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Text Placeholder 11"/>
          <p:cNvSpPr>
            <a:spLocks noGrp="1"/>
          </p:cNvSpPr>
          <p:nvPr>
            <p:ph type="body" sz="quarter" idx="17"/>
          </p:nvPr>
        </p:nvSpPr>
        <p:spPr bwMode="gray">
          <a:xfrm>
            <a:off x="4686848" y="1931193"/>
            <a:ext cx="420463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3" name="Text Placeholder 11"/>
          <p:cNvSpPr>
            <a:spLocks noGrp="1"/>
          </p:cNvSpPr>
          <p:nvPr>
            <p:ph type="body" sz="quarter" idx="18"/>
          </p:nvPr>
        </p:nvSpPr>
        <p:spPr bwMode="gray">
          <a:xfrm>
            <a:off x="4686848" y="4045107"/>
            <a:ext cx="420463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5" name="Content Placeholder 15"/>
          <p:cNvSpPr>
            <a:spLocks noGrp="1"/>
          </p:cNvSpPr>
          <p:nvPr>
            <p:ph sz="quarter" idx="20"/>
          </p:nvPr>
        </p:nvSpPr>
        <p:spPr bwMode="gray">
          <a:xfrm>
            <a:off x="4686848" y="2318322"/>
            <a:ext cx="4204630" cy="1484195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9"/>
          </p:nvPr>
        </p:nvSpPr>
        <p:spPr bwMode="gray">
          <a:xfrm>
            <a:off x="247610" y="2317641"/>
            <a:ext cx="4204630" cy="3595121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 lvl="8"/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86C11801-1BEF-46D9-879F-590C601D8597}" type="datetime4">
              <a:rPr lang="en-US" smtClean="0"/>
              <a:t>December 14, 2020</a:t>
            </a:fld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7" name="Straight Connector 10"/>
          <p:cNvCxnSpPr/>
          <p:nvPr userDrawn="1"/>
        </p:nvCxnSpPr>
        <p:spPr bwMode="gray">
          <a:xfrm>
            <a:off x="247610" y="2239175"/>
            <a:ext cx="420463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1" name="Straight Connector 9"/>
          <p:cNvCxnSpPr/>
          <p:nvPr userDrawn="1"/>
        </p:nvCxnSpPr>
        <p:spPr bwMode="gray">
          <a:xfrm>
            <a:off x="4686848" y="2239175"/>
            <a:ext cx="420463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4" name="Straight Connector 14"/>
          <p:cNvCxnSpPr/>
          <p:nvPr userDrawn="1"/>
        </p:nvCxnSpPr>
        <p:spPr bwMode="gray">
          <a:xfrm>
            <a:off x="4686848" y="4348008"/>
            <a:ext cx="420463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8" name="Content Placeholder 15"/>
          <p:cNvSpPr>
            <a:spLocks noGrp="1"/>
          </p:cNvSpPr>
          <p:nvPr>
            <p:ph sz="quarter" idx="21"/>
          </p:nvPr>
        </p:nvSpPr>
        <p:spPr bwMode="gray">
          <a:xfrm>
            <a:off x="4686848" y="4432236"/>
            <a:ext cx="4204630" cy="1481057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3"/>
          </p:nvPr>
        </p:nvSpPr>
        <p:spPr bwMode="gray">
          <a:xfrm>
            <a:off x="246939" y="1085213"/>
            <a:ext cx="8643600" cy="504000"/>
          </a:xfr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32" name="Straight Connector 31"/>
          <p:cNvCxnSpPr/>
          <p:nvPr userDrawn="1"/>
        </p:nvCxnSpPr>
        <p:spPr bwMode="gray">
          <a:xfrm>
            <a:off x="4572793" y="2388843"/>
            <a:ext cx="0" cy="352327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03958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: Title (3) &amp; Content (3) &amp;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 Placeholder 11"/>
          <p:cNvSpPr>
            <a:spLocks noGrp="1"/>
          </p:cNvSpPr>
          <p:nvPr>
            <p:ph type="body" sz="quarter" idx="22"/>
          </p:nvPr>
        </p:nvSpPr>
        <p:spPr bwMode="gray">
          <a:xfrm>
            <a:off x="246937" y="5452639"/>
            <a:ext cx="8643600" cy="460800"/>
          </a:xfrm>
          <a:solidFill>
            <a:schemeClr val="accent3"/>
          </a:solidFill>
        </p:spPr>
        <p:txBody>
          <a:bodyPr lIns="0" tIns="0" rIns="0" anchor="ctr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5" name="Content Placeholder 15"/>
          <p:cNvSpPr>
            <a:spLocks noGrp="1"/>
          </p:cNvSpPr>
          <p:nvPr>
            <p:ph sz="quarter" idx="20"/>
          </p:nvPr>
        </p:nvSpPr>
        <p:spPr bwMode="gray">
          <a:xfrm>
            <a:off x="4686846" y="2317642"/>
            <a:ext cx="4204630" cy="1053911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9"/>
          </p:nvPr>
        </p:nvSpPr>
        <p:spPr bwMode="gray">
          <a:xfrm>
            <a:off x="247610" y="2317637"/>
            <a:ext cx="4204630" cy="2950978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247610" y="1931193"/>
            <a:ext cx="420463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Text Placeholder 11"/>
          <p:cNvSpPr>
            <a:spLocks noGrp="1"/>
          </p:cNvSpPr>
          <p:nvPr>
            <p:ph type="body" sz="quarter" idx="17"/>
          </p:nvPr>
        </p:nvSpPr>
        <p:spPr bwMode="gray">
          <a:xfrm>
            <a:off x="4686846" y="1931193"/>
            <a:ext cx="420463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3" name="Text Placeholder 11"/>
          <p:cNvSpPr>
            <a:spLocks noGrp="1"/>
          </p:cNvSpPr>
          <p:nvPr>
            <p:ph type="body" sz="quarter" idx="18"/>
          </p:nvPr>
        </p:nvSpPr>
        <p:spPr bwMode="gray">
          <a:xfrm>
            <a:off x="4686846" y="3831247"/>
            <a:ext cx="420463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 lvl="8"/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75ACC3D8-F658-404B-AC58-DFDEB860C833}" type="datetime4">
              <a:rPr lang="en-US" smtClean="0"/>
              <a:t>December 14, 2020</a:t>
            </a:fld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7" name="Straight Connector 10"/>
          <p:cNvCxnSpPr/>
          <p:nvPr userDrawn="1"/>
        </p:nvCxnSpPr>
        <p:spPr bwMode="gray">
          <a:xfrm>
            <a:off x="247610" y="2238495"/>
            <a:ext cx="420463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1" name="Straight Connector 9"/>
          <p:cNvCxnSpPr/>
          <p:nvPr userDrawn="1"/>
        </p:nvCxnSpPr>
        <p:spPr bwMode="gray">
          <a:xfrm>
            <a:off x="4686846" y="2238495"/>
            <a:ext cx="420463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4" name="Straight Connector 14"/>
          <p:cNvCxnSpPr/>
          <p:nvPr userDrawn="1"/>
        </p:nvCxnSpPr>
        <p:spPr bwMode="gray">
          <a:xfrm>
            <a:off x="4686846" y="4135561"/>
            <a:ext cx="420463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8" name="Content Placeholder 15"/>
          <p:cNvSpPr>
            <a:spLocks noGrp="1"/>
          </p:cNvSpPr>
          <p:nvPr>
            <p:ph sz="quarter" idx="21"/>
          </p:nvPr>
        </p:nvSpPr>
        <p:spPr bwMode="gray">
          <a:xfrm>
            <a:off x="4686846" y="4214708"/>
            <a:ext cx="4204630" cy="1053911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3"/>
          </p:nvPr>
        </p:nvSpPr>
        <p:spPr bwMode="gray">
          <a:xfrm>
            <a:off x="246938" y="1085213"/>
            <a:ext cx="8643600" cy="504000"/>
          </a:xfr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37" name="Straight Connector 36"/>
          <p:cNvCxnSpPr/>
          <p:nvPr userDrawn="1"/>
        </p:nvCxnSpPr>
        <p:spPr bwMode="gray">
          <a:xfrm>
            <a:off x="4572793" y="2388842"/>
            <a:ext cx="0" cy="287977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39042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: Title &amp; Content (2)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 lvl="8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7E78DB5F-64D9-442E-954C-935C935B4142}" type="datetime4">
              <a:rPr lang="en-US" smtClean="0"/>
              <a:t>December 14, 2020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247099" y="1931195"/>
            <a:ext cx="154842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2025372" y="1931195"/>
            <a:ext cx="6866317" cy="3980918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247099" y="2317641"/>
            <a:ext cx="1548420" cy="3594475"/>
          </a:xfrm>
        </p:spPr>
        <p:txBody>
          <a:bodyPr lIns="0" tIns="0" rIns="0" bIns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6" name="Straight Connector 15"/>
          <p:cNvCxnSpPr/>
          <p:nvPr userDrawn="1"/>
        </p:nvCxnSpPr>
        <p:spPr bwMode="gray">
          <a:xfrm>
            <a:off x="247099" y="2238495"/>
            <a:ext cx="1547369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5" name="Subtitle 2"/>
          <p:cNvSpPr>
            <a:spLocks noGrp="1"/>
          </p:cNvSpPr>
          <p:nvPr>
            <p:ph type="subTitle" idx="13"/>
          </p:nvPr>
        </p:nvSpPr>
        <p:spPr bwMode="gray">
          <a:xfrm>
            <a:off x="246938" y="1085213"/>
            <a:ext cx="8643600" cy="504000"/>
          </a:xfr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26" name="Straight Connector 25"/>
          <p:cNvCxnSpPr/>
          <p:nvPr userDrawn="1"/>
        </p:nvCxnSpPr>
        <p:spPr bwMode="gray">
          <a:xfrm>
            <a:off x="1911636" y="2388843"/>
            <a:ext cx="0" cy="352327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7884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: Title &amp; Content (2)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 lvl="8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7E78DB5F-64D9-442E-954C-935C935B4142}" type="datetime4">
              <a:rPr lang="en-US" smtClean="0"/>
              <a:t>December 14, 2020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247610" y="1931195"/>
            <a:ext cx="3070858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3544312" y="1931195"/>
            <a:ext cx="5347377" cy="3980918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247610" y="2317641"/>
            <a:ext cx="3070858" cy="3594475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6" name="Straight Connector 15"/>
          <p:cNvCxnSpPr/>
          <p:nvPr userDrawn="1"/>
        </p:nvCxnSpPr>
        <p:spPr bwMode="gray">
          <a:xfrm>
            <a:off x="247610" y="2238495"/>
            <a:ext cx="307086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5" name="Subtitle 2"/>
          <p:cNvSpPr>
            <a:spLocks noGrp="1"/>
          </p:cNvSpPr>
          <p:nvPr>
            <p:ph type="subTitle" idx="13"/>
          </p:nvPr>
        </p:nvSpPr>
        <p:spPr bwMode="gray">
          <a:xfrm>
            <a:off x="246937" y="1085213"/>
            <a:ext cx="8643600" cy="504000"/>
          </a:xfr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26" name="Straight Connector 25"/>
          <p:cNvCxnSpPr/>
          <p:nvPr userDrawn="1"/>
        </p:nvCxnSpPr>
        <p:spPr bwMode="gray">
          <a:xfrm>
            <a:off x="3432581" y="2388843"/>
            <a:ext cx="0" cy="352327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8882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: Title (3) &amp; Content (3)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246937" y="1931193"/>
            <a:ext cx="3070858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Text Placeholder 11"/>
          <p:cNvSpPr>
            <a:spLocks noGrp="1"/>
          </p:cNvSpPr>
          <p:nvPr>
            <p:ph type="body" sz="quarter" idx="17"/>
          </p:nvPr>
        </p:nvSpPr>
        <p:spPr bwMode="gray">
          <a:xfrm>
            <a:off x="3543955" y="1931194"/>
            <a:ext cx="5347537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3" name="Text Placeholder 11"/>
          <p:cNvSpPr>
            <a:spLocks noGrp="1"/>
          </p:cNvSpPr>
          <p:nvPr>
            <p:ph type="body" sz="quarter" idx="18"/>
          </p:nvPr>
        </p:nvSpPr>
        <p:spPr bwMode="gray">
          <a:xfrm>
            <a:off x="3543955" y="4042705"/>
            <a:ext cx="5347537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5" name="Content Placeholder 15"/>
          <p:cNvSpPr>
            <a:spLocks noGrp="1"/>
          </p:cNvSpPr>
          <p:nvPr>
            <p:ph sz="quarter" idx="20"/>
          </p:nvPr>
        </p:nvSpPr>
        <p:spPr bwMode="gray">
          <a:xfrm>
            <a:off x="3543955" y="2317638"/>
            <a:ext cx="5347537" cy="1483548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9"/>
          </p:nvPr>
        </p:nvSpPr>
        <p:spPr bwMode="gray">
          <a:xfrm>
            <a:off x="246937" y="2317638"/>
            <a:ext cx="3071532" cy="3594474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 lvl="8"/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21D0314D-AAD8-43AE-987E-1CD311B19016}" type="datetime4">
              <a:rPr lang="en-US" smtClean="0"/>
              <a:t>December 14, 2020</a:t>
            </a:fld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9"/>
          <p:cNvCxnSpPr/>
          <p:nvPr userDrawn="1"/>
        </p:nvCxnSpPr>
        <p:spPr bwMode="gray">
          <a:xfrm>
            <a:off x="3544564" y="2238495"/>
            <a:ext cx="5346928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4" name="Straight Connector 14"/>
          <p:cNvCxnSpPr/>
          <p:nvPr userDrawn="1"/>
        </p:nvCxnSpPr>
        <p:spPr bwMode="gray">
          <a:xfrm>
            <a:off x="3544564" y="4349421"/>
            <a:ext cx="5346928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8" name="Content Placeholder 15"/>
          <p:cNvSpPr>
            <a:spLocks noGrp="1"/>
          </p:cNvSpPr>
          <p:nvPr>
            <p:ph sz="quarter" idx="21"/>
          </p:nvPr>
        </p:nvSpPr>
        <p:spPr bwMode="gray">
          <a:xfrm>
            <a:off x="3543955" y="4428564"/>
            <a:ext cx="5347537" cy="1483548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Subtitle 2"/>
          <p:cNvSpPr>
            <a:spLocks noGrp="1"/>
          </p:cNvSpPr>
          <p:nvPr>
            <p:ph type="subTitle" idx="13"/>
          </p:nvPr>
        </p:nvSpPr>
        <p:spPr bwMode="gray">
          <a:xfrm>
            <a:off x="246936" y="1085213"/>
            <a:ext cx="8643600" cy="504000"/>
          </a:xfr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37" name="Straight Connector 36"/>
          <p:cNvCxnSpPr/>
          <p:nvPr userDrawn="1"/>
        </p:nvCxnSpPr>
        <p:spPr bwMode="gray">
          <a:xfrm>
            <a:off x="3432581" y="2388843"/>
            <a:ext cx="0" cy="352327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1" name="Straight Connector 40"/>
          <p:cNvCxnSpPr/>
          <p:nvPr userDrawn="1"/>
        </p:nvCxnSpPr>
        <p:spPr bwMode="gray">
          <a:xfrm>
            <a:off x="246937" y="2238495"/>
            <a:ext cx="307086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83669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: Title (3) &amp; Content (3) &amp; Bo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2" name="Straight Connector 41"/>
          <p:cNvCxnSpPr/>
          <p:nvPr userDrawn="1"/>
        </p:nvCxnSpPr>
        <p:spPr bwMode="gray">
          <a:xfrm>
            <a:off x="3432581" y="2388842"/>
            <a:ext cx="0" cy="287977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7" name="Text Placeholder 11"/>
          <p:cNvSpPr>
            <a:spLocks noGrp="1"/>
          </p:cNvSpPr>
          <p:nvPr>
            <p:ph type="body" sz="quarter" idx="22"/>
          </p:nvPr>
        </p:nvSpPr>
        <p:spPr bwMode="gray">
          <a:xfrm>
            <a:off x="246936" y="5452639"/>
            <a:ext cx="8643600" cy="460800"/>
          </a:xfrm>
          <a:solidFill>
            <a:schemeClr val="accent3"/>
          </a:solidFill>
        </p:spPr>
        <p:txBody>
          <a:bodyPr lIns="0" tIns="0" rIns="0" anchor="ctr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5" name="Content Placeholder 15"/>
          <p:cNvSpPr>
            <a:spLocks noGrp="1"/>
          </p:cNvSpPr>
          <p:nvPr>
            <p:ph sz="quarter" idx="20"/>
          </p:nvPr>
        </p:nvSpPr>
        <p:spPr bwMode="gray">
          <a:xfrm>
            <a:off x="3544313" y="2317642"/>
            <a:ext cx="5347376" cy="1053911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9"/>
          </p:nvPr>
        </p:nvSpPr>
        <p:spPr bwMode="gray">
          <a:xfrm>
            <a:off x="246938" y="2317641"/>
            <a:ext cx="3071531" cy="2950979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246938" y="1931193"/>
            <a:ext cx="3071531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Text Placeholder 11"/>
          <p:cNvSpPr>
            <a:spLocks noGrp="1"/>
          </p:cNvSpPr>
          <p:nvPr>
            <p:ph type="body" sz="quarter" idx="17"/>
          </p:nvPr>
        </p:nvSpPr>
        <p:spPr bwMode="gray">
          <a:xfrm>
            <a:off x="3544313" y="1931193"/>
            <a:ext cx="5347901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3" name="Text Placeholder 11"/>
          <p:cNvSpPr>
            <a:spLocks noGrp="1"/>
          </p:cNvSpPr>
          <p:nvPr>
            <p:ph type="body" sz="quarter" idx="18"/>
          </p:nvPr>
        </p:nvSpPr>
        <p:spPr bwMode="gray">
          <a:xfrm>
            <a:off x="3544313" y="3831247"/>
            <a:ext cx="5347901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 lvl="8"/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8C3EC54A-C632-4B8A-8DD8-4163ADA26599}" type="datetime4">
              <a:rPr lang="en-US" smtClean="0"/>
              <a:t>December 14, 2020</a:t>
            </a:fld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8" name="Content Placeholder 15"/>
          <p:cNvSpPr>
            <a:spLocks noGrp="1"/>
          </p:cNvSpPr>
          <p:nvPr>
            <p:ph sz="quarter" idx="21"/>
          </p:nvPr>
        </p:nvSpPr>
        <p:spPr bwMode="gray">
          <a:xfrm>
            <a:off x="3544313" y="4214708"/>
            <a:ext cx="5347376" cy="1053911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9" name="Straight Connector 9"/>
          <p:cNvCxnSpPr/>
          <p:nvPr userDrawn="1"/>
        </p:nvCxnSpPr>
        <p:spPr bwMode="gray">
          <a:xfrm>
            <a:off x="3544313" y="2238495"/>
            <a:ext cx="5346928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 userDrawn="1"/>
        </p:nvCxnSpPr>
        <p:spPr bwMode="gray">
          <a:xfrm>
            <a:off x="3546262" y="4136597"/>
            <a:ext cx="5346928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Subtitle 2"/>
          <p:cNvSpPr>
            <a:spLocks noGrp="1"/>
          </p:cNvSpPr>
          <p:nvPr>
            <p:ph type="subTitle" idx="13"/>
          </p:nvPr>
        </p:nvSpPr>
        <p:spPr bwMode="gray">
          <a:xfrm>
            <a:off x="246937" y="1085213"/>
            <a:ext cx="8643600" cy="504000"/>
          </a:xfr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45" name="Straight Connector 44"/>
          <p:cNvCxnSpPr/>
          <p:nvPr userDrawn="1"/>
        </p:nvCxnSpPr>
        <p:spPr bwMode="gray">
          <a:xfrm>
            <a:off x="246938" y="2238495"/>
            <a:ext cx="307086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00631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: Title (3) &amp; Content (3)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92771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 lvl="8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4094DB61-25C8-4EF5-ACA6-394B43063948}" type="datetime4">
              <a:rPr lang="en-US" smtClean="0"/>
              <a:t>December 14, 2020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247610" y="1931193"/>
            <a:ext cx="2732875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247610" y="2317185"/>
            <a:ext cx="2732875" cy="3594931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24"/>
          </p:nvPr>
        </p:nvSpPr>
        <p:spPr bwMode="gray">
          <a:xfrm>
            <a:off x="3204402" y="1931193"/>
            <a:ext cx="2732875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5" name="Straight Connector 14"/>
          <p:cNvCxnSpPr/>
          <p:nvPr userDrawn="1"/>
        </p:nvCxnSpPr>
        <p:spPr bwMode="gray">
          <a:xfrm>
            <a:off x="3204402" y="2238495"/>
            <a:ext cx="273287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6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3204403" y="2317185"/>
            <a:ext cx="2732875" cy="3594931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Text Placeholder 11"/>
          <p:cNvSpPr>
            <a:spLocks noGrp="1"/>
          </p:cNvSpPr>
          <p:nvPr>
            <p:ph type="body" sz="quarter" idx="26"/>
          </p:nvPr>
        </p:nvSpPr>
        <p:spPr bwMode="gray">
          <a:xfrm>
            <a:off x="6158814" y="1931193"/>
            <a:ext cx="2732875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21" name="Straight Connector 20"/>
          <p:cNvCxnSpPr/>
          <p:nvPr userDrawn="1"/>
        </p:nvCxnSpPr>
        <p:spPr bwMode="gray">
          <a:xfrm>
            <a:off x="6158814" y="2238495"/>
            <a:ext cx="273287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2" name="Content Placeholder 3"/>
          <p:cNvSpPr>
            <a:spLocks noGrp="1"/>
          </p:cNvSpPr>
          <p:nvPr>
            <p:ph sz="quarter" idx="27"/>
          </p:nvPr>
        </p:nvSpPr>
        <p:spPr bwMode="gray">
          <a:xfrm>
            <a:off x="6158814" y="2317185"/>
            <a:ext cx="2732875" cy="3594931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3"/>
          </p:nvPr>
        </p:nvSpPr>
        <p:spPr bwMode="gray">
          <a:xfrm>
            <a:off x="246937" y="1085213"/>
            <a:ext cx="8643600" cy="504000"/>
          </a:xfr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35" name="Straight Connector 34"/>
          <p:cNvCxnSpPr/>
          <p:nvPr userDrawn="1"/>
        </p:nvCxnSpPr>
        <p:spPr bwMode="gray">
          <a:xfrm>
            <a:off x="3093635" y="2388387"/>
            <a:ext cx="0" cy="352664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 userDrawn="1"/>
        </p:nvCxnSpPr>
        <p:spPr bwMode="gray">
          <a:xfrm>
            <a:off x="6048047" y="2388387"/>
            <a:ext cx="0" cy="352664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 bwMode="gray">
          <a:xfrm>
            <a:off x="247610" y="2238495"/>
            <a:ext cx="273287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97065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: 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5"/>
          </p:nvPr>
        </p:nvSpPr>
        <p:spPr bwMode="gray">
          <a:xfrm>
            <a:off x="2" y="0"/>
            <a:ext cx="9145588" cy="4610100"/>
          </a:xfr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22" name="Text Placeholder 5"/>
          <p:cNvSpPr>
            <a:spLocks noGrp="1"/>
          </p:cNvSpPr>
          <p:nvPr>
            <p:ph type="body" sz="quarter" idx="16"/>
          </p:nvPr>
        </p:nvSpPr>
        <p:spPr bwMode="gray">
          <a:xfrm>
            <a:off x="334800" y="365752"/>
            <a:ext cx="1530000" cy="2304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900" cap="all" baseline="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3"/>
          </p:nvPr>
        </p:nvSpPr>
        <p:spPr bwMode="gray">
          <a:xfrm>
            <a:off x="334800" y="5000633"/>
            <a:ext cx="7236000" cy="224432"/>
          </a:xfrm>
        </p:spPr>
        <p:txBody>
          <a:bodyPr lIns="0" tIns="0" rIns="0" bIns="0" anchor="b"/>
          <a:lstStyle>
            <a:lvl1pPr marL="1588" indent="0">
              <a:buFont typeface="Arial" panose="020B0604020202020204" pitchFamily="34" charset="0"/>
              <a:buNone/>
              <a:defRPr sz="1000" cap="all" baseline="0"/>
            </a:lvl1pPr>
            <a:lvl2pPr marL="1588" indent="0">
              <a:buNone/>
              <a:defRPr sz="1000" cap="all" baseline="0"/>
            </a:lvl2pPr>
            <a:lvl3pPr marL="1588" indent="0">
              <a:buNone/>
              <a:defRPr sz="1000" cap="all" baseline="0"/>
            </a:lvl3pPr>
            <a:lvl4pPr marL="1588" indent="0">
              <a:buNone/>
              <a:defRPr sz="1000" cap="all" baseline="0"/>
            </a:lvl4pPr>
            <a:lvl5pPr marL="1588" indent="0">
              <a:buNone/>
              <a:defRPr sz="1000" cap="all" baseline="0"/>
            </a:lvl5pPr>
            <a:lvl6pPr marL="1588" indent="0">
              <a:buNone/>
              <a:defRPr sz="1000" cap="all" baseline="0"/>
            </a:lvl6pPr>
            <a:lvl7pPr marL="1588" indent="0">
              <a:buNone/>
              <a:defRPr sz="1000" cap="all" baseline="0"/>
            </a:lvl7pPr>
            <a:lvl8pPr marL="1588" indent="0">
              <a:buNone/>
              <a:defRPr sz="1000" cap="all" baseline="0"/>
            </a:lvl8pPr>
            <a:lvl9pPr marL="1588" indent="0">
              <a:buNone/>
              <a:defRPr sz="1000" cap="all" baseline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 bwMode="gray">
          <a:xfrm>
            <a:off x="334800" y="5205567"/>
            <a:ext cx="7236000" cy="504001"/>
          </a:xfrm>
        </p:spPr>
        <p:txBody>
          <a:bodyPr lIns="0" tIns="0" rIns="0" bIns="0"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 bwMode="gray">
          <a:xfrm>
            <a:off x="334800" y="5751515"/>
            <a:ext cx="7236000" cy="360865"/>
          </a:xfrm>
        </p:spPr>
        <p:txBody>
          <a:bodyPr lIns="0" tIns="0" rIns="0" bIns="0"/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ext Placeholder 19"/>
          <p:cNvSpPr>
            <a:spLocks noGrp="1"/>
          </p:cNvSpPr>
          <p:nvPr>
            <p:ph type="body" sz="quarter" idx="14"/>
          </p:nvPr>
        </p:nvSpPr>
        <p:spPr bwMode="gray">
          <a:xfrm>
            <a:off x="334800" y="6109996"/>
            <a:ext cx="7236000" cy="280092"/>
          </a:xfr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  <a:lvl6pPr marL="0" indent="0">
              <a:buNone/>
              <a:defRPr/>
            </a:lvl6pPr>
            <a:lvl7pPr marL="0" indent="0">
              <a:buNone/>
              <a:defRPr/>
            </a:lvl7pPr>
            <a:lvl8pPr marL="0" indent="0">
              <a:buNone/>
              <a:defRPr/>
            </a:lvl8pPr>
            <a:lvl9pPr marL="0" indent="0">
              <a:buNone/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Rectangle 17"/>
          <p:cNvSpPr/>
          <p:nvPr userDrawn="1"/>
        </p:nvSpPr>
        <p:spPr bwMode="gray">
          <a:xfrm>
            <a:off x="244800" y="4828013"/>
            <a:ext cx="413300" cy="1583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de-DE" sz="3200" b="1" dirty="0">
                <a:solidFill>
                  <a:schemeClr val="bg2"/>
                </a:solidFill>
              </a:rPr>
              <a:t>—</a:t>
            </a:r>
            <a:endParaRPr lang="en-US" sz="3200" b="1" dirty="0">
              <a:solidFill>
                <a:schemeClr val="bg2"/>
              </a:solidFill>
            </a:endParaRPr>
          </a:p>
        </p:txBody>
      </p:sp>
      <p:pic>
        <p:nvPicPr>
          <p:cNvPr id="14" name="Picture 19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938000" y="6160150"/>
            <a:ext cx="873621" cy="334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068928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: Title (3) &amp; Content (3) &amp; Bo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/>
          <p:cNvSpPr>
            <a:spLocks noGrp="1"/>
          </p:cNvSpPr>
          <p:nvPr>
            <p:ph type="body" sz="quarter" idx="28"/>
          </p:nvPr>
        </p:nvSpPr>
        <p:spPr bwMode="gray">
          <a:xfrm>
            <a:off x="247611" y="5452639"/>
            <a:ext cx="8643600" cy="460800"/>
          </a:xfrm>
          <a:solidFill>
            <a:schemeClr val="accent3"/>
          </a:solidFill>
        </p:spPr>
        <p:txBody>
          <a:bodyPr anchor="ctr"/>
          <a:lstStyle>
            <a:lvl1pPr marL="7939" indent="0" algn="ctr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 lvl="8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76B2BC20-ABC6-478C-8E1B-2165F3667B32}" type="datetime4">
              <a:rPr lang="en-US" smtClean="0"/>
              <a:t>December 14, 2020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247610" y="1931193"/>
            <a:ext cx="2732875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gray">
          <a:xfrm>
            <a:off x="247610" y="2238495"/>
            <a:ext cx="273287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1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247610" y="2317638"/>
            <a:ext cx="2732875" cy="2950978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24"/>
          </p:nvPr>
        </p:nvSpPr>
        <p:spPr bwMode="gray">
          <a:xfrm>
            <a:off x="3204402" y="1931193"/>
            <a:ext cx="2732875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5" name="Straight Connector 14"/>
          <p:cNvCxnSpPr/>
          <p:nvPr userDrawn="1"/>
        </p:nvCxnSpPr>
        <p:spPr bwMode="gray">
          <a:xfrm>
            <a:off x="3204403" y="2238495"/>
            <a:ext cx="273287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6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3204402" y="2317638"/>
            <a:ext cx="2732875" cy="2950978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Text Placeholder 11"/>
          <p:cNvSpPr>
            <a:spLocks noGrp="1"/>
          </p:cNvSpPr>
          <p:nvPr>
            <p:ph type="body" sz="quarter" idx="26"/>
          </p:nvPr>
        </p:nvSpPr>
        <p:spPr bwMode="gray">
          <a:xfrm>
            <a:off x="6158814" y="1931193"/>
            <a:ext cx="2732875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21" name="Straight Connector 20"/>
          <p:cNvCxnSpPr/>
          <p:nvPr userDrawn="1"/>
        </p:nvCxnSpPr>
        <p:spPr bwMode="gray">
          <a:xfrm>
            <a:off x="6158814" y="2238495"/>
            <a:ext cx="273287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2" name="Content Placeholder 3"/>
          <p:cNvSpPr>
            <a:spLocks noGrp="1"/>
          </p:cNvSpPr>
          <p:nvPr>
            <p:ph sz="quarter" idx="27"/>
          </p:nvPr>
        </p:nvSpPr>
        <p:spPr bwMode="gray">
          <a:xfrm>
            <a:off x="6158814" y="2317638"/>
            <a:ext cx="2732875" cy="2950978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3" name="Subtitle 2"/>
          <p:cNvSpPr>
            <a:spLocks noGrp="1"/>
          </p:cNvSpPr>
          <p:nvPr>
            <p:ph type="subTitle" idx="13"/>
          </p:nvPr>
        </p:nvSpPr>
        <p:spPr bwMode="gray">
          <a:xfrm>
            <a:off x="246938" y="1085213"/>
            <a:ext cx="8643600" cy="504000"/>
          </a:xfr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34" name="Straight Connector 33"/>
          <p:cNvCxnSpPr/>
          <p:nvPr userDrawn="1"/>
        </p:nvCxnSpPr>
        <p:spPr bwMode="gray">
          <a:xfrm>
            <a:off x="3093635" y="2388842"/>
            <a:ext cx="0" cy="287977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 userDrawn="1"/>
        </p:nvCxnSpPr>
        <p:spPr bwMode="gray">
          <a:xfrm>
            <a:off x="6048046" y="2388842"/>
            <a:ext cx="0" cy="287977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74822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: Title (3) &amp; Content (3) /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 lvl="8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F176D1A0-7D36-42FE-8B65-73ABE00A4B81}" type="datetime4">
              <a:rPr lang="en-US" smtClean="0"/>
              <a:t>December 14, 2020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247610" y="1931193"/>
            <a:ext cx="2732875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gray">
          <a:xfrm>
            <a:off x="247610" y="2239175"/>
            <a:ext cx="273287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1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247610" y="2318318"/>
            <a:ext cx="2732875" cy="3593794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24"/>
          </p:nvPr>
        </p:nvSpPr>
        <p:spPr bwMode="gray">
          <a:xfrm>
            <a:off x="3204403" y="1931193"/>
            <a:ext cx="2732875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5" name="Straight Connector 14"/>
          <p:cNvCxnSpPr/>
          <p:nvPr userDrawn="1"/>
        </p:nvCxnSpPr>
        <p:spPr bwMode="gray">
          <a:xfrm>
            <a:off x="3204403" y="2239175"/>
            <a:ext cx="273287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6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3204403" y="2318318"/>
            <a:ext cx="2732875" cy="3593794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Text Placeholder 11"/>
          <p:cNvSpPr>
            <a:spLocks noGrp="1"/>
          </p:cNvSpPr>
          <p:nvPr>
            <p:ph type="body" sz="quarter" idx="26"/>
          </p:nvPr>
        </p:nvSpPr>
        <p:spPr bwMode="gray">
          <a:xfrm>
            <a:off x="6158814" y="1931193"/>
            <a:ext cx="2732875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21" name="Straight Connector 20"/>
          <p:cNvCxnSpPr/>
          <p:nvPr userDrawn="1"/>
        </p:nvCxnSpPr>
        <p:spPr bwMode="gray">
          <a:xfrm>
            <a:off x="6158814" y="2239175"/>
            <a:ext cx="273287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2" name="Content Placeholder 3"/>
          <p:cNvSpPr>
            <a:spLocks noGrp="1"/>
          </p:cNvSpPr>
          <p:nvPr>
            <p:ph sz="quarter" idx="27"/>
          </p:nvPr>
        </p:nvSpPr>
        <p:spPr bwMode="gray">
          <a:xfrm>
            <a:off x="6158814" y="2318318"/>
            <a:ext cx="2732875" cy="3593794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Gleichschenkliges Dreieck 46"/>
          <p:cNvSpPr/>
          <p:nvPr userDrawn="1"/>
        </p:nvSpPr>
        <p:spPr bwMode="gray">
          <a:xfrm rot="5400000">
            <a:off x="4289019" y="4103967"/>
            <a:ext cx="3522591" cy="93708"/>
          </a:xfrm>
          <a:prstGeom prst="triangle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349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</a:endParaRPr>
          </a:p>
        </p:txBody>
      </p:sp>
      <p:sp>
        <p:nvSpPr>
          <p:cNvPr id="19" name="Gleichschenkliges Dreieck 46"/>
          <p:cNvSpPr/>
          <p:nvPr userDrawn="1"/>
        </p:nvSpPr>
        <p:spPr bwMode="gray">
          <a:xfrm rot="5400000">
            <a:off x="1332330" y="4106876"/>
            <a:ext cx="3522591" cy="93708"/>
          </a:xfrm>
          <a:prstGeom prst="triangle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349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</a:endParaRPr>
          </a:p>
        </p:txBody>
      </p:sp>
      <p:sp>
        <p:nvSpPr>
          <p:cNvPr id="24" name="Subtitle 2"/>
          <p:cNvSpPr>
            <a:spLocks noGrp="1"/>
          </p:cNvSpPr>
          <p:nvPr>
            <p:ph type="subTitle" idx="13"/>
          </p:nvPr>
        </p:nvSpPr>
        <p:spPr bwMode="gray">
          <a:xfrm>
            <a:off x="246937" y="1085213"/>
            <a:ext cx="8643600" cy="504000"/>
          </a:xfr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1166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: Title (3) &amp; Content (3) &amp; Box /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 lvl="8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E78EC23C-A2EE-4E37-B3CA-EB5FB6E0A626}" type="datetime4">
              <a:rPr lang="en-US" smtClean="0"/>
              <a:t>December 14, 2020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247610" y="1931193"/>
            <a:ext cx="2732875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gray">
          <a:xfrm>
            <a:off x="247610" y="2238495"/>
            <a:ext cx="273287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1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247610" y="2317638"/>
            <a:ext cx="2732875" cy="2950978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24"/>
          </p:nvPr>
        </p:nvSpPr>
        <p:spPr bwMode="gray">
          <a:xfrm>
            <a:off x="3204403" y="1931193"/>
            <a:ext cx="2732875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5" name="Straight Connector 14"/>
          <p:cNvCxnSpPr/>
          <p:nvPr userDrawn="1"/>
        </p:nvCxnSpPr>
        <p:spPr bwMode="gray">
          <a:xfrm>
            <a:off x="3204403" y="2238495"/>
            <a:ext cx="273287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6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3204402" y="2317638"/>
            <a:ext cx="2732875" cy="2950978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Text Placeholder 11"/>
          <p:cNvSpPr>
            <a:spLocks noGrp="1"/>
          </p:cNvSpPr>
          <p:nvPr>
            <p:ph type="body" sz="quarter" idx="26"/>
          </p:nvPr>
        </p:nvSpPr>
        <p:spPr bwMode="gray">
          <a:xfrm>
            <a:off x="6158814" y="1931193"/>
            <a:ext cx="2732875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21" name="Straight Connector 20"/>
          <p:cNvCxnSpPr/>
          <p:nvPr userDrawn="1"/>
        </p:nvCxnSpPr>
        <p:spPr bwMode="gray">
          <a:xfrm>
            <a:off x="6158814" y="2238495"/>
            <a:ext cx="273287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2" name="Content Placeholder 3"/>
          <p:cNvSpPr>
            <a:spLocks noGrp="1"/>
          </p:cNvSpPr>
          <p:nvPr>
            <p:ph sz="quarter" idx="27"/>
          </p:nvPr>
        </p:nvSpPr>
        <p:spPr bwMode="gray">
          <a:xfrm>
            <a:off x="6158814" y="2317638"/>
            <a:ext cx="2732875" cy="2950978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0" name="Text Placeholder 17"/>
          <p:cNvSpPr>
            <a:spLocks noGrp="1"/>
          </p:cNvSpPr>
          <p:nvPr>
            <p:ph type="body" sz="quarter" idx="28"/>
          </p:nvPr>
        </p:nvSpPr>
        <p:spPr bwMode="gray">
          <a:xfrm>
            <a:off x="247097" y="5452639"/>
            <a:ext cx="8643600" cy="460800"/>
          </a:xfrm>
          <a:solidFill>
            <a:schemeClr val="accent3"/>
          </a:solidFill>
        </p:spPr>
        <p:txBody>
          <a:bodyPr anchor="ctr"/>
          <a:lstStyle>
            <a:lvl1pPr marL="7939" indent="0" algn="ctr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3" name="Subtitle 2"/>
          <p:cNvSpPr>
            <a:spLocks noGrp="1"/>
          </p:cNvSpPr>
          <p:nvPr>
            <p:ph type="subTitle" idx="13"/>
          </p:nvPr>
        </p:nvSpPr>
        <p:spPr bwMode="gray">
          <a:xfrm>
            <a:off x="246938" y="1085213"/>
            <a:ext cx="8643600" cy="504000"/>
          </a:xfr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9" name="Gleichschenkliges Dreieck 46"/>
          <p:cNvSpPr/>
          <p:nvPr userDrawn="1"/>
        </p:nvSpPr>
        <p:spPr bwMode="gray">
          <a:xfrm rot="5400000">
            <a:off x="4612223" y="3780765"/>
            <a:ext cx="2876184" cy="93708"/>
          </a:xfrm>
          <a:prstGeom prst="triangle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349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</a:endParaRPr>
          </a:p>
        </p:txBody>
      </p:sp>
      <p:sp>
        <p:nvSpPr>
          <p:cNvPr id="24" name="Gleichschenkliges Dreieck 46"/>
          <p:cNvSpPr/>
          <p:nvPr userDrawn="1"/>
        </p:nvSpPr>
        <p:spPr bwMode="gray">
          <a:xfrm rot="5400000">
            <a:off x="1655534" y="3783673"/>
            <a:ext cx="2876183" cy="93708"/>
          </a:xfrm>
          <a:prstGeom prst="triangle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349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0063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: Title (3) &amp; Content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3"/>
          <p:cNvSpPr>
            <a:spLocks noGrp="1"/>
          </p:cNvSpPr>
          <p:nvPr>
            <p:ph sz="quarter" idx="28"/>
          </p:nvPr>
        </p:nvSpPr>
        <p:spPr bwMode="gray">
          <a:xfrm>
            <a:off x="247610" y="2317753"/>
            <a:ext cx="2732875" cy="1692493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9" name="Content Placeholder 3"/>
          <p:cNvSpPr>
            <a:spLocks noGrp="1"/>
          </p:cNvSpPr>
          <p:nvPr>
            <p:ph sz="quarter" idx="29"/>
          </p:nvPr>
        </p:nvSpPr>
        <p:spPr bwMode="gray">
          <a:xfrm>
            <a:off x="3204403" y="2317752"/>
            <a:ext cx="2732875" cy="1692493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0" name="Content Placeholder 3"/>
          <p:cNvSpPr>
            <a:spLocks noGrp="1"/>
          </p:cNvSpPr>
          <p:nvPr>
            <p:ph sz="quarter" idx="30"/>
          </p:nvPr>
        </p:nvSpPr>
        <p:spPr bwMode="gray">
          <a:xfrm>
            <a:off x="6158814" y="2317752"/>
            <a:ext cx="2732875" cy="1692493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247610" y="4239660"/>
            <a:ext cx="2732875" cy="1673783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3204403" y="4239660"/>
            <a:ext cx="2732875" cy="1673783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Content Placeholder 3"/>
          <p:cNvSpPr>
            <a:spLocks noGrp="1"/>
          </p:cNvSpPr>
          <p:nvPr>
            <p:ph sz="quarter" idx="27"/>
          </p:nvPr>
        </p:nvSpPr>
        <p:spPr bwMode="gray">
          <a:xfrm>
            <a:off x="6158814" y="4239660"/>
            <a:ext cx="2732875" cy="1673783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 lvl="8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FB49FC10-E749-4C4C-8DA8-5C5C82B618BE}" type="datetime4">
              <a:rPr lang="en-US" smtClean="0"/>
              <a:t>December 14, 2020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247610" y="1931193"/>
            <a:ext cx="2732875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gray">
          <a:xfrm>
            <a:off x="247610" y="2238606"/>
            <a:ext cx="273287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24"/>
          </p:nvPr>
        </p:nvSpPr>
        <p:spPr bwMode="gray">
          <a:xfrm>
            <a:off x="3204403" y="1931193"/>
            <a:ext cx="2732875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5" name="Straight Connector 14"/>
          <p:cNvCxnSpPr/>
          <p:nvPr userDrawn="1"/>
        </p:nvCxnSpPr>
        <p:spPr bwMode="gray">
          <a:xfrm>
            <a:off x="3204403" y="2238606"/>
            <a:ext cx="273287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0" name="Text Placeholder 11"/>
          <p:cNvSpPr>
            <a:spLocks noGrp="1"/>
          </p:cNvSpPr>
          <p:nvPr>
            <p:ph type="body" sz="quarter" idx="26"/>
          </p:nvPr>
        </p:nvSpPr>
        <p:spPr bwMode="gray">
          <a:xfrm>
            <a:off x="6158814" y="1931193"/>
            <a:ext cx="2732875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21" name="Straight Connector 20"/>
          <p:cNvCxnSpPr/>
          <p:nvPr userDrawn="1"/>
        </p:nvCxnSpPr>
        <p:spPr bwMode="gray">
          <a:xfrm>
            <a:off x="6158814" y="2238606"/>
            <a:ext cx="273287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3" name="Subtitle 2"/>
          <p:cNvSpPr>
            <a:spLocks noGrp="1"/>
          </p:cNvSpPr>
          <p:nvPr>
            <p:ph type="subTitle" idx="13"/>
          </p:nvPr>
        </p:nvSpPr>
        <p:spPr bwMode="gray">
          <a:xfrm>
            <a:off x="246937" y="1085213"/>
            <a:ext cx="8643600" cy="504000"/>
          </a:xfr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5174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: Title (3) &amp; Content (6) &amp;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3"/>
          <p:cNvSpPr>
            <a:spLocks noGrp="1"/>
          </p:cNvSpPr>
          <p:nvPr>
            <p:ph sz="quarter" idx="28"/>
          </p:nvPr>
        </p:nvSpPr>
        <p:spPr bwMode="gray">
          <a:xfrm>
            <a:off x="247610" y="2317752"/>
            <a:ext cx="2732875" cy="1692493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9" name="Content Placeholder 3"/>
          <p:cNvSpPr>
            <a:spLocks noGrp="1"/>
          </p:cNvSpPr>
          <p:nvPr>
            <p:ph sz="quarter" idx="29"/>
          </p:nvPr>
        </p:nvSpPr>
        <p:spPr bwMode="gray">
          <a:xfrm>
            <a:off x="3204403" y="2317752"/>
            <a:ext cx="2732875" cy="1692493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0" name="Content Placeholder 3"/>
          <p:cNvSpPr>
            <a:spLocks noGrp="1"/>
          </p:cNvSpPr>
          <p:nvPr>
            <p:ph sz="quarter" idx="30"/>
          </p:nvPr>
        </p:nvSpPr>
        <p:spPr bwMode="gray">
          <a:xfrm>
            <a:off x="6158814" y="2317752"/>
            <a:ext cx="2732875" cy="1692493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247610" y="4239660"/>
            <a:ext cx="2732875" cy="1028959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3204403" y="4239660"/>
            <a:ext cx="2732875" cy="1028959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Content Placeholder 3"/>
          <p:cNvSpPr>
            <a:spLocks noGrp="1"/>
          </p:cNvSpPr>
          <p:nvPr>
            <p:ph sz="quarter" idx="27"/>
          </p:nvPr>
        </p:nvSpPr>
        <p:spPr bwMode="gray">
          <a:xfrm>
            <a:off x="6158814" y="4239660"/>
            <a:ext cx="2732875" cy="1028959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 lvl="8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A15E654D-F1FE-47BD-AEB4-A952F2E268AF}" type="datetime4">
              <a:rPr lang="en-US" smtClean="0"/>
              <a:t>December 14, 2020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247610" y="1931191"/>
            <a:ext cx="2732875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 bwMode="gray">
          <a:xfrm>
            <a:off x="247610" y="2238606"/>
            <a:ext cx="273287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24"/>
          </p:nvPr>
        </p:nvSpPr>
        <p:spPr bwMode="gray">
          <a:xfrm>
            <a:off x="3204403" y="1931191"/>
            <a:ext cx="2732875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5" name="Straight Connector 14"/>
          <p:cNvCxnSpPr/>
          <p:nvPr userDrawn="1"/>
        </p:nvCxnSpPr>
        <p:spPr bwMode="gray">
          <a:xfrm>
            <a:off x="3204403" y="2238606"/>
            <a:ext cx="273287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0" name="Text Placeholder 11"/>
          <p:cNvSpPr>
            <a:spLocks noGrp="1"/>
          </p:cNvSpPr>
          <p:nvPr>
            <p:ph type="body" sz="quarter" idx="26"/>
          </p:nvPr>
        </p:nvSpPr>
        <p:spPr bwMode="gray">
          <a:xfrm>
            <a:off x="6158814" y="1931191"/>
            <a:ext cx="2732875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21" name="Straight Connector 20"/>
          <p:cNvCxnSpPr/>
          <p:nvPr userDrawn="1"/>
        </p:nvCxnSpPr>
        <p:spPr bwMode="gray">
          <a:xfrm>
            <a:off x="6158814" y="2238606"/>
            <a:ext cx="273287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5" name="Text Placeholder 17"/>
          <p:cNvSpPr>
            <a:spLocks noGrp="1"/>
          </p:cNvSpPr>
          <p:nvPr>
            <p:ph type="body" sz="quarter" idx="31"/>
          </p:nvPr>
        </p:nvSpPr>
        <p:spPr bwMode="gray">
          <a:xfrm>
            <a:off x="247611" y="5452639"/>
            <a:ext cx="8643600" cy="460800"/>
          </a:xfrm>
          <a:solidFill>
            <a:schemeClr val="accent3"/>
          </a:solidFill>
        </p:spPr>
        <p:txBody>
          <a:bodyPr anchor="ctr"/>
          <a:lstStyle>
            <a:lvl1pPr marL="7939" indent="0" algn="ctr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4" name="Subtitle 2"/>
          <p:cNvSpPr>
            <a:spLocks noGrp="1"/>
          </p:cNvSpPr>
          <p:nvPr>
            <p:ph type="subTitle" idx="13"/>
          </p:nvPr>
        </p:nvSpPr>
        <p:spPr bwMode="gray">
          <a:xfrm>
            <a:off x="246937" y="1085213"/>
            <a:ext cx="8643600" cy="504000"/>
          </a:xfr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7038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: Content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42160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 lvl="8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8F8FF341-9601-47A6-A4C1-F2885A66BAA5}" type="datetime4">
              <a:rPr lang="en-US" smtClean="0"/>
              <a:t>December 14, 2020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246938" y="3989616"/>
            <a:ext cx="1992107" cy="1922496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246929" y="1931194"/>
            <a:ext cx="1991756" cy="1922496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3"/>
          </p:nvPr>
        </p:nvSpPr>
        <p:spPr bwMode="gray">
          <a:xfrm>
            <a:off x="246938" y="1085213"/>
            <a:ext cx="8643600" cy="504000"/>
          </a:xfr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21" name="Straight Connector 20"/>
          <p:cNvCxnSpPr/>
          <p:nvPr userDrawn="1"/>
        </p:nvCxnSpPr>
        <p:spPr bwMode="gray">
          <a:xfrm>
            <a:off x="2354982" y="1931194"/>
            <a:ext cx="0" cy="398091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2468898" y="1931194"/>
            <a:ext cx="4207793" cy="3980918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8" name="Straight Connector 17"/>
          <p:cNvCxnSpPr/>
          <p:nvPr userDrawn="1"/>
        </p:nvCxnSpPr>
        <p:spPr bwMode="gray">
          <a:xfrm>
            <a:off x="6788312" y="1931194"/>
            <a:ext cx="0" cy="398091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9" name="Content Placeholder 3"/>
          <p:cNvSpPr>
            <a:spLocks noGrp="1"/>
          </p:cNvSpPr>
          <p:nvPr>
            <p:ph sz="quarter" idx="22"/>
          </p:nvPr>
        </p:nvSpPr>
        <p:spPr bwMode="gray">
          <a:xfrm>
            <a:off x="6899582" y="3989616"/>
            <a:ext cx="1992107" cy="1922496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6899933" y="1931194"/>
            <a:ext cx="1991756" cy="1922496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3607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7: Title (4) &amp; Conten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 lvl="8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479F5AED-CDE6-4CF9-A19E-ACD3A4FD6C29}" type="datetime4">
              <a:rPr lang="en-US" smtClean="0"/>
              <a:t>December 14, 2020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247610" y="1931193"/>
            <a:ext cx="1992946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247610" y="2317638"/>
            <a:ext cx="1992946" cy="3594474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24"/>
          </p:nvPr>
        </p:nvSpPr>
        <p:spPr bwMode="gray">
          <a:xfrm>
            <a:off x="2466242" y="1931193"/>
            <a:ext cx="1992946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2466242" y="2317638"/>
            <a:ext cx="1992946" cy="3594474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Text Placeholder 11"/>
          <p:cNvSpPr>
            <a:spLocks noGrp="1"/>
          </p:cNvSpPr>
          <p:nvPr>
            <p:ph type="body" sz="quarter" idx="26"/>
          </p:nvPr>
        </p:nvSpPr>
        <p:spPr bwMode="gray">
          <a:xfrm>
            <a:off x="4682493" y="1931193"/>
            <a:ext cx="1992946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Content Placeholder 3"/>
          <p:cNvSpPr>
            <a:spLocks noGrp="1"/>
          </p:cNvSpPr>
          <p:nvPr>
            <p:ph sz="quarter" idx="27"/>
          </p:nvPr>
        </p:nvSpPr>
        <p:spPr bwMode="gray">
          <a:xfrm>
            <a:off x="4682493" y="2317638"/>
            <a:ext cx="1992946" cy="3594474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8" name="Straight Connector 17"/>
          <p:cNvCxnSpPr/>
          <p:nvPr userDrawn="1"/>
        </p:nvCxnSpPr>
        <p:spPr bwMode="gray">
          <a:xfrm>
            <a:off x="247610" y="2238495"/>
            <a:ext cx="199294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 bwMode="gray">
          <a:xfrm>
            <a:off x="2466242" y="2238495"/>
            <a:ext cx="199294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 bwMode="gray">
          <a:xfrm>
            <a:off x="4682493" y="2238495"/>
            <a:ext cx="199294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 bwMode="gray">
          <a:xfrm>
            <a:off x="6898743" y="2238495"/>
            <a:ext cx="199294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6" name="Text Placeholder 11"/>
          <p:cNvSpPr>
            <a:spLocks noGrp="1"/>
          </p:cNvSpPr>
          <p:nvPr>
            <p:ph type="body" sz="quarter" idx="28"/>
          </p:nvPr>
        </p:nvSpPr>
        <p:spPr bwMode="gray">
          <a:xfrm>
            <a:off x="6898743" y="1931193"/>
            <a:ext cx="1992946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9" name="Content Placeholder 3"/>
          <p:cNvSpPr>
            <a:spLocks noGrp="1"/>
          </p:cNvSpPr>
          <p:nvPr>
            <p:ph sz="quarter" idx="29"/>
          </p:nvPr>
        </p:nvSpPr>
        <p:spPr bwMode="gray">
          <a:xfrm>
            <a:off x="6898743" y="2317638"/>
            <a:ext cx="1992946" cy="3594474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1" name="Subtitle 2"/>
          <p:cNvSpPr>
            <a:spLocks noGrp="1"/>
          </p:cNvSpPr>
          <p:nvPr>
            <p:ph type="subTitle" idx="13"/>
          </p:nvPr>
        </p:nvSpPr>
        <p:spPr bwMode="gray">
          <a:xfrm>
            <a:off x="246937" y="1085213"/>
            <a:ext cx="8643600" cy="504000"/>
          </a:xfr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41" name="Straight Connector 40"/>
          <p:cNvCxnSpPr/>
          <p:nvPr userDrawn="1"/>
        </p:nvCxnSpPr>
        <p:spPr bwMode="gray">
          <a:xfrm>
            <a:off x="2354590" y="2388843"/>
            <a:ext cx="0" cy="352327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2" name="Straight Connector 41"/>
          <p:cNvCxnSpPr/>
          <p:nvPr userDrawn="1"/>
        </p:nvCxnSpPr>
        <p:spPr bwMode="gray">
          <a:xfrm>
            <a:off x="6787091" y="2388843"/>
            <a:ext cx="0" cy="352327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 userDrawn="1"/>
        </p:nvCxnSpPr>
        <p:spPr bwMode="gray">
          <a:xfrm>
            <a:off x="4570841" y="2388843"/>
            <a:ext cx="0" cy="352327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864818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8: Title (4) &amp; Content (4) &amp;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247610" y="1931193"/>
            <a:ext cx="1992946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247610" y="2317753"/>
            <a:ext cx="1992946" cy="2950867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24"/>
          </p:nvPr>
        </p:nvSpPr>
        <p:spPr bwMode="gray">
          <a:xfrm>
            <a:off x="2466242" y="1931193"/>
            <a:ext cx="1992946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2466242" y="2317753"/>
            <a:ext cx="1992946" cy="2950867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Text Placeholder 11"/>
          <p:cNvSpPr>
            <a:spLocks noGrp="1"/>
          </p:cNvSpPr>
          <p:nvPr>
            <p:ph type="body" sz="quarter" idx="26"/>
          </p:nvPr>
        </p:nvSpPr>
        <p:spPr bwMode="gray">
          <a:xfrm>
            <a:off x="4682493" y="1931193"/>
            <a:ext cx="1992946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Content Placeholder 3"/>
          <p:cNvSpPr>
            <a:spLocks noGrp="1"/>
          </p:cNvSpPr>
          <p:nvPr>
            <p:ph sz="quarter" idx="27"/>
          </p:nvPr>
        </p:nvSpPr>
        <p:spPr bwMode="gray">
          <a:xfrm>
            <a:off x="4682493" y="2317753"/>
            <a:ext cx="1992946" cy="2950867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8" name="Straight Connector 17"/>
          <p:cNvCxnSpPr/>
          <p:nvPr userDrawn="1"/>
        </p:nvCxnSpPr>
        <p:spPr bwMode="gray">
          <a:xfrm>
            <a:off x="247610" y="2238606"/>
            <a:ext cx="199294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 bwMode="gray">
          <a:xfrm>
            <a:off x="2466242" y="2238606"/>
            <a:ext cx="199294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 bwMode="gray">
          <a:xfrm>
            <a:off x="4682493" y="2238606"/>
            <a:ext cx="199294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 bwMode="gray">
          <a:xfrm>
            <a:off x="6898743" y="2238606"/>
            <a:ext cx="199294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6" name="Text Placeholder 11"/>
          <p:cNvSpPr>
            <a:spLocks noGrp="1"/>
          </p:cNvSpPr>
          <p:nvPr>
            <p:ph type="body" sz="quarter" idx="28"/>
          </p:nvPr>
        </p:nvSpPr>
        <p:spPr bwMode="gray">
          <a:xfrm>
            <a:off x="6898743" y="1931193"/>
            <a:ext cx="1992946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9" name="Content Placeholder 3"/>
          <p:cNvSpPr>
            <a:spLocks noGrp="1"/>
          </p:cNvSpPr>
          <p:nvPr>
            <p:ph sz="quarter" idx="29"/>
          </p:nvPr>
        </p:nvSpPr>
        <p:spPr bwMode="gray">
          <a:xfrm>
            <a:off x="6898743" y="2317753"/>
            <a:ext cx="1992946" cy="2950867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4" name="Text Placeholder 17"/>
          <p:cNvSpPr>
            <a:spLocks noGrp="1"/>
          </p:cNvSpPr>
          <p:nvPr>
            <p:ph type="body" sz="quarter" idx="30"/>
          </p:nvPr>
        </p:nvSpPr>
        <p:spPr bwMode="gray">
          <a:xfrm>
            <a:off x="246936" y="5452639"/>
            <a:ext cx="8643600" cy="460800"/>
          </a:xfrm>
          <a:solidFill>
            <a:schemeClr val="accent3"/>
          </a:solidFill>
        </p:spPr>
        <p:txBody>
          <a:bodyPr anchor="ctr"/>
          <a:lstStyle>
            <a:lvl1pPr marL="7939" indent="0" algn="ctr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31"/>
          </p:nvPr>
        </p:nvSpPr>
        <p:spPr bwMode="gray"/>
        <p:txBody>
          <a:bodyPr/>
          <a:lstStyle/>
          <a:p>
            <a:fld id="{DF793CCD-C37B-40CA-9C03-8963978AEAF0}" type="datetime4">
              <a:rPr lang="en-US" smtClean="0"/>
              <a:t>December 14, 2020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2"/>
          </p:nvPr>
        </p:nvSpPr>
        <p:spPr bwMode="gray"/>
        <p:txBody>
          <a:bodyPr/>
          <a:lstStyle/>
          <a:p>
            <a:pPr lvl="8"/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3"/>
          </p:nvPr>
        </p:nvSpPr>
        <p:spPr bwMode="gray"/>
        <p:txBody>
          <a:bodyPr/>
          <a:lstStyle/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1" name="Subtitle 2"/>
          <p:cNvSpPr>
            <a:spLocks noGrp="1"/>
          </p:cNvSpPr>
          <p:nvPr>
            <p:ph type="subTitle" idx="13"/>
          </p:nvPr>
        </p:nvSpPr>
        <p:spPr bwMode="gray">
          <a:xfrm>
            <a:off x="246938" y="1085213"/>
            <a:ext cx="8643600" cy="504000"/>
          </a:xfr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42" name="Straight Connector 41"/>
          <p:cNvCxnSpPr/>
          <p:nvPr userDrawn="1"/>
        </p:nvCxnSpPr>
        <p:spPr bwMode="gray">
          <a:xfrm>
            <a:off x="2354590" y="2388955"/>
            <a:ext cx="0" cy="287966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 userDrawn="1"/>
        </p:nvCxnSpPr>
        <p:spPr bwMode="gray">
          <a:xfrm>
            <a:off x="6787091" y="2388955"/>
            <a:ext cx="0" cy="287966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 userDrawn="1"/>
        </p:nvCxnSpPr>
        <p:spPr bwMode="gray">
          <a:xfrm>
            <a:off x="4570841" y="2388955"/>
            <a:ext cx="0" cy="287966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55734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9: Content (3)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 lvl="8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8F8FF341-9601-47A6-A4C1-F2885A66BAA5}" type="datetime4">
              <a:rPr lang="en-US" smtClean="0"/>
              <a:t>December 14, 2020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4688317" y="1931198"/>
            <a:ext cx="4203372" cy="1853869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247611" y="1931198"/>
            <a:ext cx="4202632" cy="1853869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3"/>
          </p:nvPr>
        </p:nvSpPr>
        <p:spPr bwMode="gray">
          <a:xfrm>
            <a:off x="246937" y="1085213"/>
            <a:ext cx="8643600" cy="504000"/>
          </a:xfr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21" name="Straight Connector 20"/>
          <p:cNvCxnSpPr/>
          <p:nvPr userDrawn="1"/>
        </p:nvCxnSpPr>
        <p:spPr bwMode="gray">
          <a:xfrm>
            <a:off x="4572793" y="1931198"/>
            <a:ext cx="0" cy="1853869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246937" y="4064036"/>
            <a:ext cx="8643600" cy="1848076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3" name="Straight Connector 12"/>
          <p:cNvCxnSpPr/>
          <p:nvPr userDrawn="1"/>
        </p:nvCxnSpPr>
        <p:spPr bwMode="gray">
          <a:xfrm>
            <a:off x="247611" y="3922317"/>
            <a:ext cx="86436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42096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: Conten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 lvl="8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8F8FF341-9601-47A6-A4C1-F2885A66BAA5}" type="datetime4">
              <a:rPr lang="en-US" smtClean="0"/>
              <a:t>December 14, 2020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3195543" y="1931198"/>
            <a:ext cx="2732875" cy="1853869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247610" y="1931198"/>
            <a:ext cx="2732875" cy="1853869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3"/>
          </p:nvPr>
        </p:nvSpPr>
        <p:spPr bwMode="gray">
          <a:xfrm>
            <a:off x="247611" y="1085213"/>
            <a:ext cx="8643600" cy="504000"/>
          </a:xfr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21" name="Straight Connector 20"/>
          <p:cNvCxnSpPr/>
          <p:nvPr userDrawn="1"/>
        </p:nvCxnSpPr>
        <p:spPr bwMode="gray">
          <a:xfrm>
            <a:off x="3089205" y="1931198"/>
            <a:ext cx="0" cy="1853869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246937" y="4064036"/>
            <a:ext cx="8643600" cy="1848076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3" name="Straight Connector 12"/>
          <p:cNvCxnSpPr/>
          <p:nvPr userDrawn="1"/>
        </p:nvCxnSpPr>
        <p:spPr bwMode="gray">
          <a:xfrm>
            <a:off x="247610" y="3922317"/>
            <a:ext cx="86436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 bwMode="gray">
          <a:xfrm>
            <a:off x="6043616" y="1931198"/>
            <a:ext cx="0" cy="1853869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4" name="Content Placeholder 3"/>
          <p:cNvSpPr>
            <a:spLocks noGrp="1"/>
          </p:cNvSpPr>
          <p:nvPr>
            <p:ph sz="quarter" idx="22"/>
          </p:nvPr>
        </p:nvSpPr>
        <p:spPr bwMode="gray">
          <a:xfrm>
            <a:off x="6158814" y="1931198"/>
            <a:ext cx="2732875" cy="1853869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1787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: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6"/>
          <p:cNvPicPr>
            <a:picLocks noChangeAspect="1"/>
          </p:cNvPicPr>
          <p:nvPr userDrawn="1"/>
        </p:nvPicPr>
        <p:blipFill rotWithShape="1">
          <a:blip r:embed="rId2"/>
          <a:srcRect l="8043" r="16987" b="6897"/>
          <a:stretch/>
        </p:blipFill>
        <p:spPr bwMode="gray">
          <a:xfrm>
            <a:off x="1" y="0"/>
            <a:ext cx="9145587" cy="685800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7A788F3-F03B-4CE3-A53A-92B7BA552450}"/>
              </a:ext>
            </a:extLst>
          </p:cNvPr>
          <p:cNvSpPr/>
          <p:nvPr userDrawn="1"/>
        </p:nvSpPr>
        <p:spPr bwMode="gray">
          <a:xfrm>
            <a:off x="244800" y="414450"/>
            <a:ext cx="413300" cy="1583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de-DE" sz="3200" b="1" dirty="0">
                <a:solidFill>
                  <a:schemeClr val="bg1"/>
                </a:solidFill>
              </a:rPr>
              <a:t>—</a:t>
            </a:r>
            <a:endParaRPr lang="en-US" sz="3200" b="1" dirty="0">
              <a:solidFill>
                <a:schemeClr val="bg1"/>
              </a:solidFill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147ECAEF-EF27-4B97-8283-B8C3CAA683C2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334799" y="721799"/>
            <a:ext cx="8558375" cy="504001"/>
          </a:xfrm>
        </p:spPr>
        <p:txBody>
          <a:bodyPr lIns="0" tIns="0" rIns="0" bIns="0" anchor="b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33BAF7E7-A591-4964-BC0F-013E7B433EF3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334800" y="1267747"/>
            <a:ext cx="8558374" cy="360865"/>
          </a:xfrm>
        </p:spPr>
        <p:txBody>
          <a:bodyPr lIns="0" tIns="0" rIns="0" bIns="0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0332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: Content (8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247610" y="1932098"/>
            <a:ext cx="1992946" cy="1897200"/>
          </a:xfrm>
        </p:spPr>
        <p:txBody>
          <a:bodyPr lIns="0" tIns="0" rIns="0" bIns="0" anchor="ctr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8" name="Straight Connector 17"/>
          <p:cNvCxnSpPr/>
          <p:nvPr userDrawn="1"/>
        </p:nvCxnSpPr>
        <p:spPr bwMode="gray">
          <a:xfrm>
            <a:off x="247610" y="3925094"/>
            <a:ext cx="86436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9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2466242" y="1932849"/>
            <a:ext cx="1992946" cy="1897200"/>
          </a:xfrm>
        </p:spPr>
        <p:txBody>
          <a:bodyPr lIns="0" tIns="0" rIns="0" bIns="0" anchor="ctr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Content Placeholder 3"/>
          <p:cNvSpPr>
            <a:spLocks noGrp="1"/>
          </p:cNvSpPr>
          <p:nvPr>
            <p:ph sz="quarter" idx="22"/>
          </p:nvPr>
        </p:nvSpPr>
        <p:spPr bwMode="gray">
          <a:xfrm>
            <a:off x="247610" y="4016596"/>
            <a:ext cx="1992946" cy="1897200"/>
          </a:xfrm>
        </p:spPr>
        <p:txBody>
          <a:bodyPr lIns="0" tIns="0" rIns="0" bIns="0" anchor="ctr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2466242" y="4017347"/>
            <a:ext cx="1992946" cy="1897200"/>
          </a:xfrm>
        </p:spPr>
        <p:txBody>
          <a:bodyPr lIns="0" tIns="0" rIns="0" bIns="0" anchor="ctr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4"/>
          </p:nvPr>
        </p:nvSpPr>
        <p:spPr bwMode="gray"/>
        <p:txBody>
          <a:bodyPr/>
          <a:lstStyle/>
          <a:p>
            <a:fld id="{32E27045-0511-42A6-9AC3-A3212EB42885}" type="datetime4">
              <a:rPr lang="en-US" smtClean="0"/>
              <a:t>December 14, 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5"/>
          </p:nvPr>
        </p:nvSpPr>
        <p:spPr bwMode="gray"/>
        <p:txBody>
          <a:bodyPr/>
          <a:lstStyle/>
          <a:p>
            <a:pPr lvl="8"/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6"/>
          </p:nvPr>
        </p:nvSpPr>
        <p:spPr bwMode="gray"/>
        <p:txBody>
          <a:bodyPr/>
          <a:lstStyle/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3"/>
          </p:nvPr>
        </p:nvSpPr>
        <p:spPr bwMode="gray">
          <a:xfrm>
            <a:off x="246938" y="1085213"/>
            <a:ext cx="8643600" cy="504000"/>
          </a:xfr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4" name="Content Placeholder 3"/>
          <p:cNvSpPr>
            <a:spLocks noGrp="1"/>
          </p:cNvSpPr>
          <p:nvPr>
            <p:ph sz="quarter" idx="27"/>
          </p:nvPr>
        </p:nvSpPr>
        <p:spPr bwMode="gray">
          <a:xfrm>
            <a:off x="4682493" y="1932098"/>
            <a:ext cx="1992946" cy="1897200"/>
          </a:xfrm>
        </p:spPr>
        <p:txBody>
          <a:bodyPr lIns="0" tIns="0" rIns="0" bIns="0" anchor="ctr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5" name="Content Placeholder 3"/>
          <p:cNvSpPr>
            <a:spLocks noGrp="1"/>
          </p:cNvSpPr>
          <p:nvPr>
            <p:ph sz="quarter" idx="28"/>
          </p:nvPr>
        </p:nvSpPr>
        <p:spPr bwMode="gray">
          <a:xfrm>
            <a:off x="6898743" y="1932849"/>
            <a:ext cx="1992946" cy="1897200"/>
          </a:xfrm>
        </p:spPr>
        <p:txBody>
          <a:bodyPr lIns="0" tIns="0" rIns="0" bIns="0" anchor="ctr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6" name="Content Placeholder 3"/>
          <p:cNvSpPr>
            <a:spLocks noGrp="1"/>
          </p:cNvSpPr>
          <p:nvPr>
            <p:ph sz="quarter" idx="29"/>
          </p:nvPr>
        </p:nvSpPr>
        <p:spPr bwMode="gray">
          <a:xfrm>
            <a:off x="4682493" y="4016596"/>
            <a:ext cx="1992946" cy="1897200"/>
          </a:xfrm>
        </p:spPr>
        <p:txBody>
          <a:bodyPr lIns="0" tIns="0" rIns="0" bIns="0" anchor="ctr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7" name="Content Placeholder 3"/>
          <p:cNvSpPr>
            <a:spLocks noGrp="1"/>
          </p:cNvSpPr>
          <p:nvPr>
            <p:ph sz="quarter" idx="30"/>
          </p:nvPr>
        </p:nvSpPr>
        <p:spPr bwMode="gray">
          <a:xfrm>
            <a:off x="6898743" y="4017347"/>
            <a:ext cx="1992946" cy="1897200"/>
          </a:xfrm>
        </p:spPr>
        <p:txBody>
          <a:bodyPr lIns="0" tIns="0" rIns="0" bIns="0" anchor="ctr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6559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: Title (4) &amp; Conten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247610" y="1931193"/>
            <a:ext cx="420463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Text Placeholder 11"/>
          <p:cNvSpPr>
            <a:spLocks noGrp="1"/>
          </p:cNvSpPr>
          <p:nvPr>
            <p:ph type="body" sz="quarter" idx="17"/>
          </p:nvPr>
        </p:nvSpPr>
        <p:spPr bwMode="gray">
          <a:xfrm>
            <a:off x="247610" y="4045107"/>
            <a:ext cx="420463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3" name="Text Placeholder 11"/>
          <p:cNvSpPr>
            <a:spLocks noGrp="1"/>
          </p:cNvSpPr>
          <p:nvPr>
            <p:ph type="body" sz="quarter" idx="18"/>
          </p:nvPr>
        </p:nvSpPr>
        <p:spPr bwMode="gray">
          <a:xfrm>
            <a:off x="4686848" y="1931193"/>
            <a:ext cx="420463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5" name="Content Placeholder 15"/>
          <p:cNvSpPr>
            <a:spLocks noGrp="1"/>
          </p:cNvSpPr>
          <p:nvPr>
            <p:ph sz="quarter" idx="20"/>
          </p:nvPr>
        </p:nvSpPr>
        <p:spPr bwMode="gray">
          <a:xfrm>
            <a:off x="247610" y="4432236"/>
            <a:ext cx="4204630" cy="1484195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9"/>
          </p:nvPr>
        </p:nvSpPr>
        <p:spPr bwMode="gray">
          <a:xfrm>
            <a:off x="247610" y="2317638"/>
            <a:ext cx="4204630" cy="1484876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 lvl="8"/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86C11801-1BEF-46D9-879F-590C601D8597}" type="datetime4">
              <a:rPr lang="en-US" smtClean="0"/>
              <a:t>December 14, 2020</a:t>
            </a:fld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7" name="Straight Connector 10"/>
          <p:cNvCxnSpPr/>
          <p:nvPr userDrawn="1"/>
        </p:nvCxnSpPr>
        <p:spPr bwMode="gray">
          <a:xfrm>
            <a:off x="247610" y="2239175"/>
            <a:ext cx="420463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1" name="Straight Connector 9"/>
          <p:cNvCxnSpPr/>
          <p:nvPr userDrawn="1"/>
        </p:nvCxnSpPr>
        <p:spPr bwMode="gray">
          <a:xfrm>
            <a:off x="247610" y="4348008"/>
            <a:ext cx="420463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4" name="Straight Connector 14"/>
          <p:cNvCxnSpPr/>
          <p:nvPr userDrawn="1"/>
        </p:nvCxnSpPr>
        <p:spPr bwMode="gray">
          <a:xfrm>
            <a:off x="4686848" y="2239175"/>
            <a:ext cx="420463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8" name="Content Placeholder 15"/>
          <p:cNvSpPr>
            <a:spLocks noGrp="1"/>
          </p:cNvSpPr>
          <p:nvPr>
            <p:ph sz="quarter" idx="21"/>
          </p:nvPr>
        </p:nvSpPr>
        <p:spPr bwMode="gray">
          <a:xfrm>
            <a:off x="4686848" y="2317642"/>
            <a:ext cx="4204630" cy="1481057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3"/>
          </p:nvPr>
        </p:nvSpPr>
        <p:spPr bwMode="gray">
          <a:xfrm>
            <a:off x="246939" y="1085213"/>
            <a:ext cx="8643600" cy="504000"/>
          </a:xfr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32" name="Straight Connector 31"/>
          <p:cNvCxnSpPr/>
          <p:nvPr userDrawn="1"/>
        </p:nvCxnSpPr>
        <p:spPr bwMode="gray">
          <a:xfrm>
            <a:off x="4572793" y="2388843"/>
            <a:ext cx="0" cy="352327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7" name="Text Placeholder 11"/>
          <p:cNvSpPr>
            <a:spLocks noGrp="1"/>
          </p:cNvSpPr>
          <p:nvPr>
            <p:ph type="body" sz="quarter" idx="22"/>
          </p:nvPr>
        </p:nvSpPr>
        <p:spPr bwMode="gray">
          <a:xfrm>
            <a:off x="4686848" y="4043972"/>
            <a:ext cx="420463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9" name="Straight Connector 14"/>
          <p:cNvCxnSpPr/>
          <p:nvPr userDrawn="1"/>
        </p:nvCxnSpPr>
        <p:spPr bwMode="gray">
          <a:xfrm>
            <a:off x="4686848" y="4351954"/>
            <a:ext cx="420463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0" name="Content Placeholder 15"/>
          <p:cNvSpPr>
            <a:spLocks noGrp="1"/>
          </p:cNvSpPr>
          <p:nvPr>
            <p:ph sz="quarter" idx="23"/>
          </p:nvPr>
        </p:nvSpPr>
        <p:spPr bwMode="gray">
          <a:xfrm>
            <a:off x="4686848" y="4430421"/>
            <a:ext cx="4204630" cy="1481057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6212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3: Conten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247611" y="1931195"/>
            <a:ext cx="4215280" cy="1853868"/>
          </a:xfrm>
        </p:spPr>
        <p:txBody>
          <a:bodyPr lIns="0" tIns="0" rIns="0" bIns="0" anchor="ctr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4" name="Straight Connector 13"/>
          <p:cNvCxnSpPr/>
          <p:nvPr userDrawn="1"/>
        </p:nvCxnSpPr>
        <p:spPr bwMode="gray">
          <a:xfrm>
            <a:off x="4572793" y="1931195"/>
            <a:ext cx="0" cy="398224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 bwMode="gray">
          <a:xfrm>
            <a:off x="247611" y="3922317"/>
            <a:ext cx="86436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9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4676409" y="1931195"/>
            <a:ext cx="4215280" cy="1853868"/>
          </a:xfrm>
        </p:spPr>
        <p:txBody>
          <a:bodyPr lIns="0" tIns="0" rIns="0" bIns="0" anchor="ctr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Content Placeholder 3"/>
          <p:cNvSpPr>
            <a:spLocks noGrp="1"/>
          </p:cNvSpPr>
          <p:nvPr>
            <p:ph sz="quarter" idx="22"/>
          </p:nvPr>
        </p:nvSpPr>
        <p:spPr bwMode="gray">
          <a:xfrm>
            <a:off x="247611" y="4059571"/>
            <a:ext cx="4215280" cy="1853868"/>
          </a:xfrm>
        </p:spPr>
        <p:txBody>
          <a:bodyPr lIns="0" tIns="0" rIns="0" bIns="0" anchor="ctr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4676409" y="4059571"/>
            <a:ext cx="4215280" cy="1853868"/>
          </a:xfrm>
        </p:spPr>
        <p:txBody>
          <a:bodyPr lIns="0" tIns="0" rIns="0" bIns="0" anchor="ctr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4"/>
          </p:nvPr>
        </p:nvSpPr>
        <p:spPr bwMode="gray"/>
        <p:txBody>
          <a:bodyPr/>
          <a:lstStyle/>
          <a:p>
            <a:fld id="{32E27045-0511-42A6-9AC3-A3212EB42885}" type="datetime4">
              <a:rPr lang="en-US" smtClean="0"/>
              <a:t>December 14, 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5"/>
          </p:nvPr>
        </p:nvSpPr>
        <p:spPr bwMode="gray"/>
        <p:txBody>
          <a:bodyPr/>
          <a:lstStyle/>
          <a:p>
            <a:pPr lvl="8"/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6"/>
          </p:nvPr>
        </p:nvSpPr>
        <p:spPr bwMode="gray"/>
        <p:txBody>
          <a:bodyPr/>
          <a:lstStyle/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3"/>
          </p:nvPr>
        </p:nvSpPr>
        <p:spPr bwMode="gray">
          <a:xfrm>
            <a:off x="247611" y="1085213"/>
            <a:ext cx="8643600" cy="504000"/>
          </a:xfr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7524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4: Content (4) &amp;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247611" y="1931199"/>
            <a:ext cx="4216619" cy="1530893"/>
          </a:xfrm>
        </p:spPr>
        <p:txBody>
          <a:bodyPr lIns="0" tIns="0" rIns="0" bIns="0" anchor="ctr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4675070" y="1931199"/>
            <a:ext cx="4216619" cy="1530893"/>
          </a:xfrm>
        </p:spPr>
        <p:txBody>
          <a:bodyPr lIns="0" tIns="0" rIns="0" bIns="0" anchor="ctr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Content Placeholder 3"/>
          <p:cNvSpPr>
            <a:spLocks noGrp="1"/>
          </p:cNvSpPr>
          <p:nvPr>
            <p:ph sz="quarter" idx="22"/>
          </p:nvPr>
        </p:nvSpPr>
        <p:spPr bwMode="gray">
          <a:xfrm>
            <a:off x="247611" y="3737726"/>
            <a:ext cx="4216619" cy="1530893"/>
          </a:xfrm>
        </p:spPr>
        <p:txBody>
          <a:bodyPr lIns="0" tIns="0" rIns="0" bIns="0" anchor="ctr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4675070" y="3737726"/>
            <a:ext cx="4216619" cy="1530893"/>
          </a:xfrm>
        </p:spPr>
        <p:txBody>
          <a:bodyPr lIns="0" tIns="0" rIns="0" bIns="0" anchor="ctr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Text Placeholder 11"/>
          <p:cNvSpPr>
            <a:spLocks noGrp="1"/>
          </p:cNvSpPr>
          <p:nvPr>
            <p:ph type="body" sz="quarter" idx="24"/>
          </p:nvPr>
        </p:nvSpPr>
        <p:spPr bwMode="gray">
          <a:xfrm>
            <a:off x="246936" y="5452639"/>
            <a:ext cx="8643600" cy="460800"/>
          </a:xfrm>
          <a:solidFill>
            <a:schemeClr val="accent3"/>
          </a:solidFill>
        </p:spPr>
        <p:txBody>
          <a:bodyPr lIns="0" tIns="0" rIns="0" anchor="ctr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23" name="Straight Connector 22"/>
          <p:cNvCxnSpPr/>
          <p:nvPr userDrawn="1"/>
        </p:nvCxnSpPr>
        <p:spPr bwMode="gray">
          <a:xfrm>
            <a:off x="247611" y="3599905"/>
            <a:ext cx="86436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" name="Date Placeholder 2"/>
          <p:cNvSpPr>
            <a:spLocks noGrp="1"/>
          </p:cNvSpPr>
          <p:nvPr>
            <p:ph type="dt" sz="half" idx="25"/>
          </p:nvPr>
        </p:nvSpPr>
        <p:spPr bwMode="gray"/>
        <p:txBody>
          <a:bodyPr/>
          <a:lstStyle/>
          <a:p>
            <a:fld id="{6E7D5807-0F83-4687-8EA8-403E998DE912}" type="datetime4">
              <a:rPr lang="en-US" smtClean="0"/>
              <a:t>December 14, 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6"/>
          </p:nvPr>
        </p:nvSpPr>
        <p:spPr bwMode="gray"/>
        <p:txBody>
          <a:bodyPr/>
          <a:lstStyle/>
          <a:p>
            <a:pPr lvl="8"/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7"/>
          </p:nvPr>
        </p:nvSpPr>
        <p:spPr bwMode="gray"/>
        <p:txBody>
          <a:bodyPr/>
          <a:lstStyle/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4" name="Straight Connector 13"/>
          <p:cNvCxnSpPr/>
          <p:nvPr userDrawn="1"/>
        </p:nvCxnSpPr>
        <p:spPr bwMode="gray">
          <a:xfrm>
            <a:off x="4572793" y="1931195"/>
            <a:ext cx="0" cy="333742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5" name="Subtitle 2"/>
          <p:cNvSpPr>
            <a:spLocks noGrp="1"/>
          </p:cNvSpPr>
          <p:nvPr>
            <p:ph type="subTitle" idx="13"/>
          </p:nvPr>
        </p:nvSpPr>
        <p:spPr bwMode="gray">
          <a:xfrm>
            <a:off x="246936" y="1085213"/>
            <a:ext cx="8643600" cy="504000"/>
          </a:xfr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3834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5: Title (2) &amp; Conten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1915288" y="1931196"/>
            <a:ext cx="4022193" cy="1919320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1915288" y="3993324"/>
            <a:ext cx="4022193" cy="1919320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3" name="Straight Connector 12"/>
          <p:cNvCxnSpPr/>
          <p:nvPr userDrawn="1"/>
        </p:nvCxnSpPr>
        <p:spPr bwMode="gray">
          <a:xfrm>
            <a:off x="1914181" y="3921919"/>
            <a:ext cx="4020998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5" name="Content Placeholder 3"/>
          <p:cNvSpPr>
            <a:spLocks noGrp="1"/>
          </p:cNvSpPr>
          <p:nvPr userDrawn="1">
            <p:ph sz="quarter" idx="23"/>
          </p:nvPr>
        </p:nvSpPr>
        <p:spPr bwMode="gray">
          <a:xfrm>
            <a:off x="247099" y="1931196"/>
            <a:ext cx="1439350" cy="1919320"/>
          </a:xfrm>
        </p:spPr>
        <p:txBody>
          <a:bodyPr lIns="0" tIns="0" rIns="0" bIns="0" anchor="ctr"/>
          <a:lstStyle>
            <a:lvl1pPr marL="0" indent="0" algn="l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 algn="l">
              <a:buNone/>
              <a:defRPr b="1">
                <a:solidFill>
                  <a:schemeClr val="tx2"/>
                </a:solidFill>
              </a:defRPr>
            </a:lvl2pPr>
            <a:lvl3pPr marL="0" indent="0" algn="l">
              <a:buNone/>
              <a:defRPr b="1">
                <a:solidFill>
                  <a:schemeClr val="tx2"/>
                </a:solidFill>
              </a:defRPr>
            </a:lvl3pPr>
            <a:lvl4pPr marL="0" indent="0" algn="l">
              <a:buNone/>
              <a:defRPr b="1">
                <a:solidFill>
                  <a:schemeClr val="tx2"/>
                </a:solidFill>
              </a:defRPr>
            </a:lvl4pPr>
            <a:lvl5pPr marL="0" indent="0" algn="l">
              <a:buNone/>
              <a:defRPr b="1">
                <a:solidFill>
                  <a:schemeClr val="tx2"/>
                </a:solidFill>
              </a:defRPr>
            </a:lvl5pPr>
            <a:lvl6pPr marL="0" indent="0" algn="l">
              <a:buNone/>
              <a:defRPr b="1">
                <a:solidFill>
                  <a:schemeClr val="tx2"/>
                </a:solidFill>
              </a:defRPr>
            </a:lvl6pPr>
            <a:lvl7pPr marL="0" indent="0" algn="l">
              <a:buNone/>
              <a:defRPr b="1">
                <a:solidFill>
                  <a:schemeClr val="tx2"/>
                </a:solidFill>
              </a:defRPr>
            </a:lvl7pPr>
            <a:lvl8pPr marL="0" indent="0" algn="l">
              <a:buNone/>
              <a:defRPr b="1">
                <a:solidFill>
                  <a:schemeClr val="tx2"/>
                </a:solidFill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6" name="Content Placeholder 3"/>
          <p:cNvSpPr>
            <a:spLocks noGrp="1"/>
          </p:cNvSpPr>
          <p:nvPr userDrawn="1">
            <p:ph sz="quarter" idx="24"/>
          </p:nvPr>
        </p:nvSpPr>
        <p:spPr bwMode="gray">
          <a:xfrm>
            <a:off x="247099" y="3993324"/>
            <a:ext cx="1439350" cy="1919320"/>
          </a:xfrm>
        </p:spPr>
        <p:txBody>
          <a:bodyPr lIns="0" tIns="0" rIns="0" bIns="0" anchor="ctr"/>
          <a:lstStyle>
            <a:lvl1pPr marL="0" indent="0" algn="l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 algn="l">
              <a:buNone/>
              <a:defRPr b="1">
                <a:solidFill>
                  <a:schemeClr val="tx2"/>
                </a:solidFill>
              </a:defRPr>
            </a:lvl2pPr>
            <a:lvl3pPr marL="0" indent="0" algn="l">
              <a:buNone/>
              <a:defRPr b="1">
                <a:solidFill>
                  <a:schemeClr val="tx2"/>
                </a:solidFill>
              </a:defRPr>
            </a:lvl3pPr>
            <a:lvl4pPr marL="0" indent="0" algn="l">
              <a:buNone/>
              <a:defRPr b="1">
                <a:solidFill>
                  <a:schemeClr val="tx2"/>
                </a:solidFill>
              </a:defRPr>
            </a:lvl4pPr>
            <a:lvl5pPr marL="0" indent="0" algn="l">
              <a:buNone/>
              <a:defRPr b="1">
                <a:solidFill>
                  <a:schemeClr val="tx2"/>
                </a:solidFill>
              </a:defRPr>
            </a:lvl5pPr>
            <a:lvl6pPr marL="0" indent="0" algn="l">
              <a:buNone/>
              <a:defRPr b="1">
                <a:solidFill>
                  <a:schemeClr val="tx2"/>
                </a:solidFill>
              </a:defRPr>
            </a:lvl6pPr>
            <a:lvl7pPr marL="0" indent="0" algn="l">
              <a:buNone/>
              <a:defRPr b="1">
                <a:solidFill>
                  <a:schemeClr val="tx2"/>
                </a:solidFill>
              </a:defRPr>
            </a:lvl7pPr>
            <a:lvl8pPr marL="0" indent="0" algn="l">
              <a:buNone/>
              <a:defRPr b="1">
                <a:solidFill>
                  <a:schemeClr val="tx2"/>
                </a:solidFill>
              </a:defRPr>
            </a:lvl8pPr>
            <a:lvl9pPr marL="0" indent="0" algn="l">
              <a:buNone/>
              <a:defRPr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 userDrawn="1">
            <p:ph type="dt" sz="half" idx="26"/>
          </p:nvPr>
        </p:nvSpPr>
        <p:spPr bwMode="gray"/>
        <p:txBody>
          <a:bodyPr/>
          <a:lstStyle/>
          <a:p>
            <a:fld id="{D7448BAD-718D-41D5-B039-249ED06F3A4A}" type="datetime4">
              <a:rPr lang="en-US" smtClean="0"/>
              <a:t>December 14, 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 userDrawn="1">
            <p:ph type="ftr" sz="quarter" idx="27"/>
          </p:nvPr>
        </p:nvSpPr>
        <p:spPr bwMode="gray"/>
        <p:txBody>
          <a:bodyPr/>
          <a:lstStyle/>
          <a:p>
            <a:pPr lvl="8"/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 userDrawn="1">
            <p:ph type="sldNum" sz="quarter" idx="28"/>
          </p:nvPr>
        </p:nvSpPr>
        <p:spPr bwMode="gray"/>
        <p:txBody>
          <a:bodyPr/>
          <a:lstStyle/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 userDrawn="1">
            <p:ph type="subTitle" idx="13"/>
          </p:nvPr>
        </p:nvSpPr>
        <p:spPr bwMode="gray">
          <a:xfrm>
            <a:off x="246936" y="1085213"/>
            <a:ext cx="8643600" cy="504000"/>
          </a:xfr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Content Placeholder 3"/>
          <p:cNvSpPr>
            <a:spLocks noGrp="1"/>
          </p:cNvSpPr>
          <p:nvPr>
            <p:ph sz="quarter" idx="29"/>
          </p:nvPr>
        </p:nvSpPr>
        <p:spPr bwMode="gray">
          <a:xfrm>
            <a:off x="6164952" y="1931196"/>
            <a:ext cx="2726540" cy="3981448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9095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6: Title (3) &amp; Conten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1915288" y="1931196"/>
            <a:ext cx="4022193" cy="1231942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1915288" y="3305949"/>
            <a:ext cx="4022193" cy="1231942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3"/>
          <p:cNvSpPr>
            <a:spLocks noGrp="1"/>
          </p:cNvSpPr>
          <p:nvPr>
            <p:ph sz="quarter" idx="22"/>
          </p:nvPr>
        </p:nvSpPr>
        <p:spPr bwMode="gray">
          <a:xfrm>
            <a:off x="1915288" y="4680702"/>
            <a:ext cx="4022193" cy="1231942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3" name="Straight Connector 12"/>
          <p:cNvCxnSpPr/>
          <p:nvPr userDrawn="1"/>
        </p:nvCxnSpPr>
        <p:spPr bwMode="gray">
          <a:xfrm>
            <a:off x="1916482" y="3235138"/>
            <a:ext cx="4020998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 bwMode="gray">
          <a:xfrm>
            <a:off x="1916482" y="4611082"/>
            <a:ext cx="4020998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5" name="Content Placeholder 3"/>
          <p:cNvSpPr>
            <a:spLocks noGrp="1"/>
          </p:cNvSpPr>
          <p:nvPr userDrawn="1">
            <p:ph sz="quarter" idx="23"/>
          </p:nvPr>
        </p:nvSpPr>
        <p:spPr bwMode="gray">
          <a:xfrm>
            <a:off x="246938" y="1931196"/>
            <a:ext cx="1438497" cy="1231942"/>
          </a:xfrm>
        </p:spPr>
        <p:txBody>
          <a:bodyPr lIns="0" tIns="0" rIns="0" bIns="0" anchor="ctr"/>
          <a:lstStyle>
            <a:lvl1pPr marL="0" indent="0" algn="l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 algn="l">
              <a:buNone/>
              <a:defRPr b="1">
                <a:solidFill>
                  <a:schemeClr val="tx2"/>
                </a:solidFill>
              </a:defRPr>
            </a:lvl2pPr>
            <a:lvl3pPr marL="0" indent="0" algn="l">
              <a:buNone/>
              <a:defRPr b="1">
                <a:solidFill>
                  <a:schemeClr val="tx2"/>
                </a:solidFill>
              </a:defRPr>
            </a:lvl3pPr>
            <a:lvl4pPr marL="0" indent="0" algn="l">
              <a:buNone/>
              <a:defRPr b="1">
                <a:solidFill>
                  <a:schemeClr val="tx2"/>
                </a:solidFill>
              </a:defRPr>
            </a:lvl4pPr>
            <a:lvl5pPr marL="0" indent="0" algn="l">
              <a:buNone/>
              <a:defRPr b="1">
                <a:solidFill>
                  <a:schemeClr val="tx2"/>
                </a:solidFill>
              </a:defRPr>
            </a:lvl5pPr>
            <a:lvl6pPr marL="0" indent="0" algn="l">
              <a:buNone/>
              <a:defRPr b="1">
                <a:solidFill>
                  <a:schemeClr val="tx2"/>
                </a:solidFill>
              </a:defRPr>
            </a:lvl6pPr>
            <a:lvl7pPr marL="0" indent="0" algn="l">
              <a:buNone/>
              <a:defRPr b="1">
                <a:solidFill>
                  <a:schemeClr val="tx2"/>
                </a:solidFill>
              </a:defRPr>
            </a:lvl7pPr>
            <a:lvl8pPr marL="0" indent="0" algn="l">
              <a:buNone/>
              <a:defRPr b="1">
                <a:solidFill>
                  <a:schemeClr val="tx2"/>
                </a:solidFill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6" name="Content Placeholder 3"/>
          <p:cNvSpPr>
            <a:spLocks noGrp="1"/>
          </p:cNvSpPr>
          <p:nvPr userDrawn="1">
            <p:ph sz="quarter" idx="24"/>
          </p:nvPr>
        </p:nvSpPr>
        <p:spPr bwMode="gray">
          <a:xfrm>
            <a:off x="246938" y="3305949"/>
            <a:ext cx="1438497" cy="1231942"/>
          </a:xfrm>
        </p:spPr>
        <p:txBody>
          <a:bodyPr lIns="0" tIns="0" rIns="0" bIns="0" anchor="ctr"/>
          <a:lstStyle>
            <a:lvl1pPr marL="0" indent="0" algn="l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 algn="l">
              <a:buNone/>
              <a:defRPr b="1">
                <a:solidFill>
                  <a:schemeClr val="tx2"/>
                </a:solidFill>
              </a:defRPr>
            </a:lvl2pPr>
            <a:lvl3pPr marL="0" indent="0" algn="l">
              <a:buNone/>
              <a:defRPr b="1">
                <a:solidFill>
                  <a:schemeClr val="tx2"/>
                </a:solidFill>
              </a:defRPr>
            </a:lvl3pPr>
            <a:lvl4pPr marL="0" indent="0" algn="l">
              <a:buNone/>
              <a:defRPr b="1">
                <a:solidFill>
                  <a:schemeClr val="tx2"/>
                </a:solidFill>
              </a:defRPr>
            </a:lvl4pPr>
            <a:lvl5pPr marL="0" indent="0" algn="l">
              <a:buNone/>
              <a:defRPr b="1">
                <a:solidFill>
                  <a:schemeClr val="tx2"/>
                </a:solidFill>
              </a:defRPr>
            </a:lvl5pPr>
            <a:lvl6pPr marL="0" indent="0" algn="l">
              <a:buNone/>
              <a:defRPr b="1">
                <a:solidFill>
                  <a:schemeClr val="tx2"/>
                </a:solidFill>
              </a:defRPr>
            </a:lvl6pPr>
            <a:lvl7pPr marL="0" indent="0" algn="l">
              <a:buNone/>
              <a:defRPr b="1">
                <a:solidFill>
                  <a:schemeClr val="tx2"/>
                </a:solidFill>
              </a:defRPr>
            </a:lvl7pPr>
            <a:lvl8pPr marL="0" indent="0" algn="l">
              <a:buNone/>
              <a:defRPr b="1">
                <a:solidFill>
                  <a:schemeClr val="tx2"/>
                </a:solidFill>
              </a:defRPr>
            </a:lvl8pPr>
            <a:lvl9pPr marL="0" indent="0" algn="l">
              <a:buNone/>
              <a:defRPr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7" name="Content Placeholder 3"/>
          <p:cNvSpPr>
            <a:spLocks noGrp="1"/>
          </p:cNvSpPr>
          <p:nvPr userDrawn="1">
            <p:ph sz="quarter" idx="25"/>
          </p:nvPr>
        </p:nvSpPr>
        <p:spPr bwMode="gray">
          <a:xfrm>
            <a:off x="246938" y="4680702"/>
            <a:ext cx="1438497" cy="1231942"/>
          </a:xfrm>
        </p:spPr>
        <p:txBody>
          <a:bodyPr lIns="0" tIns="0" rIns="0" bIns="0" anchor="ctr"/>
          <a:lstStyle>
            <a:lvl1pPr marL="0" indent="0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>
              <a:buNone/>
              <a:defRPr b="1">
                <a:solidFill>
                  <a:schemeClr val="tx2"/>
                </a:solidFill>
              </a:defRPr>
            </a:lvl2pPr>
            <a:lvl3pPr marL="0" indent="0">
              <a:buNone/>
              <a:defRPr b="1">
                <a:solidFill>
                  <a:schemeClr val="tx2"/>
                </a:solidFill>
              </a:defRPr>
            </a:lvl3pPr>
            <a:lvl4pPr marL="0" indent="0">
              <a:buNone/>
              <a:defRPr b="1">
                <a:solidFill>
                  <a:schemeClr val="tx2"/>
                </a:solidFill>
              </a:defRPr>
            </a:lvl4pPr>
            <a:lvl5pPr marL="0" indent="0">
              <a:buNone/>
              <a:defRPr b="1">
                <a:solidFill>
                  <a:schemeClr val="tx2"/>
                </a:solidFill>
              </a:defRPr>
            </a:lvl5pPr>
            <a:lvl6pPr marL="0" indent="0">
              <a:buNone/>
              <a:defRPr b="1">
                <a:solidFill>
                  <a:schemeClr val="tx2"/>
                </a:solidFill>
              </a:defRPr>
            </a:lvl6pPr>
            <a:lvl7pPr marL="0" indent="0">
              <a:buNone/>
              <a:defRPr b="1">
                <a:solidFill>
                  <a:schemeClr val="tx2"/>
                </a:solidFill>
              </a:defRPr>
            </a:lvl7pPr>
            <a:lvl8pPr marL="0" indent="0">
              <a:buNone/>
              <a:defRPr b="1">
                <a:solidFill>
                  <a:schemeClr val="tx2"/>
                </a:solidFill>
              </a:defRPr>
            </a:lvl8pPr>
            <a:lvl9pPr marL="0" indent="0">
              <a:buNone/>
              <a:defRPr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 userDrawn="1">
            <p:ph type="dt" sz="half" idx="26"/>
          </p:nvPr>
        </p:nvSpPr>
        <p:spPr bwMode="gray"/>
        <p:txBody>
          <a:bodyPr/>
          <a:lstStyle/>
          <a:p>
            <a:fld id="{D7448BAD-718D-41D5-B039-249ED06F3A4A}" type="datetime4">
              <a:rPr lang="en-US" smtClean="0"/>
              <a:t>December 14, 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 userDrawn="1">
            <p:ph type="ftr" sz="quarter" idx="27"/>
          </p:nvPr>
        </p:nvSpPr>
        <p:spPr bwMode="gray"/>
        <p:txBody>
          <a:bodyPr/>
          <a:lstStyle/>
          <a:p>
            <a:pPr lvl="8"/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 userDrawn="1">
            <p:ph type="sldNum" sz="quarter" idx="28"/>
          </p:nvPr>
        </p:nvSpPr>
        <p:spPr bwMode="gray"/>
        <p:txBody>
          <a:bodyPr/>
          <a:lstStyle/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 userDrawn="1">
            <p:ph type="subTitle" idx="13"/>
          </p:nvPr>
        </p:nvSpPr>
        <p:spPr bwMode="gray">
          <a:xfrm>
            <a:off x="246937" y="1085213"/>
            <a:ext cx="8643600" cy="504000"/>
          </a:xfr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Content Placeholder 3"/>
          <p:cNvSpPr>
            <a:spLocks noGrp="1"/>
          </p:cNvSpPr>
          <p:nvPr>
            <p:ph sz="quarter" idx="29"/>
          </p:nvPr>
        </p:nvSpPr>
        <p:spPr bwMode="gray">
          <a:xfrm>
            <a:off x="6164952" y="1931196"/>
            <a:ext cx="2726540" cy="3981448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2968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7: Title (3) &amp; Content (3)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1915287" y="1931196"/>
            <a:ext cx="6976205" cy="1231942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3" name="Straight Connector 12"/>
          <p:cNvCxnSpPr/>
          <p:nvPr userDrawn="1"/>
        </p:nvCxnSpPr>
        <p:spPr bwMode="gray">
          <a:xfrm>
            <a:off x="1916181" y="3235138"/>
            <a:ext cx="6975311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7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1915287" y="3305949"/>
            <a:ext cx="6976205" cy="1231942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3"/>
          <p:cNvSpPr>
            <a:spLocks noGrp="1"/>
          </p:cNvSpPr>
          <p:nvPr>
            <p:ph sz="quarter" idx="22"/>
          </p:nvPr>
        </p:nvSpPr>
        <p:spPr bwMode="gray">
          <a:xfrm>
            <a:off x="1915287" y="4680702"/>
            <a:ext cx="6976205" cy="1231942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20" name="Straight Connector 19"/>
          <p:cNvCxnSpPr/>
          <p:nvPr userDrawn="1"/>
        </p:nvCxnSpPr>
        <p:spPr bwMode="gray">
          <a:xfrm>
            <a:off x="1916181" y="4611082"/>
            <a:ext cx="6975311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5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247610" y="1931196"/>
            <a:ext cx="1437824" cy="1231942"/>
          </a:xfrm>
        </p:spPr>
        <p:txBody>
          <a:bodyPr lIns="0" tIns="0" rIns="0" bIns="0" anchor="ctr"/>
          <a:lstStyle>
            <a:lvl1pPr marL="0" indent="0" algn="l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 algn="l">
              <a:buNone/>
              <a:defRPr b="1">
                <a:solidFill>
                  <a:schemeClr val="tx2"/>
                </a:solidFill>
              </a:defRPr>
            </a:lvl2pPr>
            <a:lvl3pPr marL="0" indent="0" algn="l">
              <a:buNone/>
              <a:defRPr b="1">
                <a:solidFill>
                  <a:schemeClr val="tx2"/>
                </a:solidFill>
              </a:defRPr>
            </a:lvl3pPr>
            <a:lvl4pPr marL="0" indent="0" algn="l">
              <a:buNone/>
              <a:defRPr b="1">
                <a:solidFill>
                  <a:schemeClr val="tx2"/>
                </a:solidFill>
              </a:defRPr>
            </a:lvl4pPr>
            <a:lvl5pPr marL="0" indent="0" algn="l">
              <a:buNone/>
              <a:defRPr b="1">
                <a:solidFill>
                  <a:schemeClr val="tx2"/>
                </a:solidFill>
              </a:defRPr>
            </a:lvl5pPr>
            <a:lvl6pPr marL="0" indent="0" algn="l">
              <a:buNone/>
              <a:defRPr b="1">
                <a:solidFill>
                  <a:schemeClr val="tx2"/>
                </a:solidFill>
              </a:defRPr>
            </a:lvl6pPr>
            <a:lvl7pPr marL="0" indent="0" algn="l">
              <a:buNone/>
              <a:defRPr b="1">
                <a:solidFill>
                  <a:schemeClr val="tx2"/>
                </a:solidFill>
              </a:defRPr>
            </a:lvl7pPr>
            <a:lvl8pPr marL="0" indent="0" algn="l">
              <a:buNone/>
              <a:defRPr b="1">
                <a:solidFill>
                  <a:schemeClr val="tx2"/>
                </a:solidFill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4"/>
          </p:nvPr>
        </p:nvSpPr>
        <p:spPr bwMode="gray">
          <a:xfrm>
            <a:off x="247610" y="3305949"/>
            <a:ext cx="1437824" cy="1231942"/>
          </a:xfrm>
        </p:spPr>
        <p:txBody>
          <a:bodyPr lIns="0" tIns="0" rIns="0" bIns="0" anchor="ctr"/>
          <a:lstStyle>
            <a:lvl1pPr marL="0" indent="0" algn="l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 algn="l">
              <a:buNone/>
              <a:defRPr b="1">
                <a:solidFill>
                  <a:schemeClr val="tx2"/>
                </a:solidFill>
              </a:defRPr>
            </a:lvl2pPr>
            <a:lvl3pPr marL="0" indent="0" algn="l">
              <a:buNone/>
              <a:defRPr b="1">
                <a:solidFill>
                  <a:schemeClr val="tx2"/>
                </a:solidFill>
              </a:defRPr>
            </a:lvl3pPr>
            <a:lvl4pPr marL="0" indent="0" algn="l">
              <a:buNone/>
              <a:defRPr b="1">
                <a:solidFill>
                  <a:schemeClr val="tx2"/>
                </a:solidFill>
              </a:defRPr>
            </a:lvl4pPr>
            <a:lvl5pPr marL="0" indent="0" algn="l">
              <a:buNone/>
              <a:defRPr b="1">
                <a:solidFill>
                  <a:schemeClr val="tx2"/>
                </a:solidFill>
              </a:defRPr>
            </a:lvl5pPr>
            <a:lvl6pPr marL="0" indent="0" algn="l">
              <a:buNone/>
              <a:defRPr b="1">
                <a:solidFill>
                  <a:schemeClr val="tx2"/>
                </a:solidFill>
              </a:defRPr>
            </a:lvl6pPr>
            <a:lvl7pPr marL="0" indent="0" algn="l">
              <a:buNone/>
              <a:defRPr b="1">
                <a:solidFill>
                  <a:schemeClr val="tx2"/>
                </a:solidFill>
              </a:defRPr>
            </a:lvl7pPr>
            <a:lvl8pPr marL="0" indent="0" algn="l">
              <a:buNone/>
              <a:defRPr b="1">
                <a:solidFill>
                  <a:schemeClr val="tx2"/>
                </a:solidFill>
              </a:defRPr>
            </a:lvl8pPr>
            <a:lvl9pPr marL="0" indent="0" algn="l">
              <a:buNone/>
              <a:defRPr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7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247610" y="4680702"/>
            <a:ext cx="1437824" cy="1231942"/>
          </a:xfrm>
        </p:spPr>
        <p:txBody>
          <a:bodyPr lIns="0" tIns="0" rIns="0" bIns="0" anchor="ctr"/>
          <a:lstStyle>
            <a:lvl1pPr marL="0" indent="0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>
              <a:buNone/>
              <a:defRPr b="1">
                <a:solidFill>
                  <a:schemeClr val="tx2"/>
                </a:solidFill>
              </a:defRPr>
            </a:lvl2pPr>
            <a:lvl3pPr marL="0" indent="0">
              <a:buNone/>
              <a:defRPr b="1">
                <a:solidFill>
                  <a:schemeClr val="tx2"/>
                </a:solidFill>
              </a:defRPr>
            </a:lvl3pPr>
            <a:lvl4pPr marL="0" indent="0">
              <a:buNone/>
              <a:defRPr b="1">
                <a:solidFill>
                  <a:schemeClr val="tx2"/>
                </a:solidFill>
              </a:defRPr>
            </a:lvl4pPr>
            <a:lvl5pPr marL="0" indent="0">
              <a:buNone/>
              <a:defRPr b="1">
                <a:solidFill>
                  <a:schemeClr val="tx2"/>
                </a:solidFill>
              </a:defRPr>
            </a:lvl5pPr>
            <a:lvl6pPr marL="0" indent="0">
              <a:buNone/>
              <a:defRPr b="1">
                <a:solidFill>
                  <a:schemeClr val="tx2"/>
                </a:solidFill>
              </a:defRPr>
            </a:lvl6pPr>
            <a:lvl7pPr marL="0" indent="0">
              <a:buNone/>
              <a:defRPr b="1">
                <a:solidFill>
                  <a:schemeClr val="tx2"/>
                </a:solidFill>
              </a:defRPr>
            </a:lvl7pPr>
            <a:lvl8pPr marL="0" indent="0">
              <a:buNone/>
              <a:defRPr b="1">
                <a:solidFill>
                  <a:schemeClr val="tx2"/>
                </a:solidFill>
              </a:defRPr>
            </a:lvl8pPr>
            <a:lvl9pPr marL="0" indent="0">
              <a:buNone/>
              <a:defRPr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6"/>
          </p:nvPr>
        </p:nvSpPr>
        <p:spPr bwMode="gray"/>
        <p:txBody>
          <a:bodyPr/>
          <a:lstStyle/>
          <a:p>
            <a:fld id="{D7448BAD-718D-41D5-B039-249ED06F3A4A}" type="datetime4">
              <a:rPr lang="en-US" smtClean="0"/>
              <a:t>December 14, 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7"/>
          </p:nvPr>
        </p:nvSpPr>
        <p:spPr bwMode="gray"/>
        <p:txBody>
          <a:bodyPr/>
          <a:lstStyle/>
          <a:p>
            <a:pPr lvl="8"/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8"/>
          </p:nvPr>
        </p:nvSpPr>
        <p:spPr bwMode="gray"/>
        <p:txBody>
          <a:bodyPr/>
          <a:lstStyle/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3"/>
          </p:nvPr>
        </p:nvSpPr>
        <p:spPr bwMode="gray">
          <a:xfrm>
            <a:off x="246938" y="1085213"/>
            <a:ext cx="8643600" cy="504000"/>
          </a:xfr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756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8: Title (3) &amp; Content (3) &amp; Box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1915287" y="1931196"/>
            <a:ext cx="6976205" cy="1016472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3" name="Straight Connector 12"/>
          <p:cNvCxnSpPr/>
          <p:nvPr userDrawn="1"/>
        </p:nvCxnSpPr>
        <p:spPr bwMode="gray">
          <a:xfrm>
            <a:off x="1916181" y="3019668"/>
            <a:ext cx="6975311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7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1915287" y="3091669"/>
            <a:ext cx="6976205" cy="1016472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3"/>
          <p:cNvSpPr>
            <a:spLocks noGrp="1"/>
          </p:cNvSpPr>
          <p:nvPr>
            <p:ph sz="quarter" idx="22"/>
          </p:nvPr>
        </p:nvSpPr>
        <p:spPr bwMode="gray">
          <a:xfrm>
            <a:off x="1915287" y="4252143"/>
            <a:ext cx="6976205" cy="1016472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20" name="Straight Connector 19"/>
          <p:cNvCxnSpPr/>
          <p:nvPr userDrawn="1"/>
        </p:nvCxnSpPr>
        <p:spPr bwMode="gray">
          <a:xfrm>
            <a:off x="1916181" y="4180142"/>
            <a:ext cx="6975311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5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247610" y="1931196"/>
            <a:ext cx="1437824" cy="1016472"/>
          </a:xfrm>
        </p:spPr>
        <p:txBody>
          <a:bodyPr lIns="0" tIns="0" rIns="0" bIns="0" anchor="ctr"/>
          <a:lstStyle>
            <a:lvl1pPr marL="0" indent="0" algn="l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 algn="l">
              <a:buNone/>
              <a:defRPr b="1">
                <a:solidFill>
                  <a:schemeClr val="tx2"/>
                </a:solidFill>
              </a:defRPr>
            </a:lvl2pPr>
            <a:lvl3pPr marL="0" indent="0" algn="l">
              <a:buNone/>
              <a:defRPr b="1">
                <a:solidFill>
                  <a:schemeClr val="tx2"/>
                </a:solidFill>
              </a:defRPr>
            </a:lvl3pPr>
            <a:lvl4pPr marL="0" indent="0" algn="l">
              <a:buNone/>
              <a:defRPr b="1">
                <a:solidFill>
                  <a:schemeClr val="tx2"/>
                </a:solidFill>
              </a:defRPr>
            </a:lvl4pPr>
            <a:lvl5pPr marL="0" indent="0" algn="l">
              <a:buNone/>
              <a:defRPr b="1">
                <a:solidFill>
                  <a:schemeClr val="tx2"/>
                </a:solidFill>
              </a:defRPr>
            </a:lvl5pPr>
            <a:lvl6pPr marL="0" indent="0" algn="l">
              <a:buNone/>
              <a:defRPr b="1">
                <a:solidFill>
                  <a:schemeClr val="tx2"/>
                </a:solidFill>
              </a:defRPr>
            </a:lvl6pPr>
            <a:lvl7pPr marL="0" indent="0" algn="l">
              <a:buNone/>
              <a:defRPr b="1">
                <a:solidFill>
                  <a:schemeClr val="tx2"/>
                </a:solidFill>
              </a:defRPr>
            </a:lvl7pPr>
            <a:lvl8pPr marL="0" indent="0" algn="l">
              <a:buNone/>
              <a:defRPr b="1">
                <a:solidFill>
                  <a:schemeClr val="tx2"/>
                </a:solidFill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4"/>
          </p:nvPr>
        </p:nvSpPr>
        <p:spPr bwMode="gray">
          <a:xfrm>
            <a:off x="247610" y="3091669"/>
            <a:ext cx="1437824" cy="1016472"/>
          </a:xfrm>
        </p:spPr>
        <p:txBody>
          <a:bodyPr lIns="0" tIns="0" rIns="0" bIns="0" anchor="ctr"/>
          <a:lstStyle>
            <a:lvl1pPr marL="0" indent="0" algn="l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 algn="l">
              <a:buNone/>
              <a:defRPr b="1">
                <a:solidFill>
                  <a:schemeClr val="tx2"/>
                </a:solidFill>
              </a:defRPr>
            </a:lvl2pPr>
            <a:lvl3pPr marL="0" indent="0" algn="l">
              <a:buNone/>
              <a:defRPr b="1">
                <a:solidFill>
                  <a:schemeClr val="tx2"/>
                </a:solidFill>
              </a:defRPr>
            </a:lvl3pPr>
            <a:lvl4pPr marL="0" indent="0" algn="l">
              <a:buNone/>
              <a:defRPr b="1">
                <a:solidFill>
                  <a:schemeClr val="tx2"/>
                </a:solidFill>
              </a:defRPr>
            </a:lvl4pPr>
            <a:lvl5pPr marL="0" indent="0" algn="l">
              <a:buNone/>
              <a:defRPr b="1">
                <a:solidFill>
                  <a:schemeClr val="tx2"/>
                </a:solidFill>
              </a:defRPr>
            </a:lvl5pPr>
            <a:lvl6pPr marL="0" indent="0" algn="l">
              <a:buNone/>
              <a:defRPr b="1">
                <a:solidFill>
                  <a:schemeClr val="tx2"/>
                </a:solidFill>
              </a:defRPr>
            </a:lvl6pPr>
            <a:lvl7pPr marL="0" indent="0" algn="l">
              <a:buNone/>
              <a:defRPr b="1">
                <a:solidFill>
                  <a:schemeClr val="tx2"/>
                </a:solidFill>
              </a:defRPr>
            </a:lvl7pPr>
            <a:lvl8pPr marL="0" indent="0" algn="l">
              <a:buNone/>
              <a:defRPr b="1">
                <a:solidFill>
                  <a:schemeClr val="tx2"/>
                </a:solidFill>
              </a:defRPr>
            </a:lvl8pPr>
            <a:lvl9pPr marL="0" indent="0" algn="l">
              <a:buNone/>
              <a:defRPr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7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247610" y="4252143"/>
            <a:ext cx="1437824" cy="1016472"/>
          </a:xfrm>
        </p:spPr>
        <p:txBody>
          <a:bodyPr lIns="0" tIns="0" rIns="0" bIns="0" anchor="ctr"/>
          <a:lstStyle>
            <a:lvl1pPr marL="0" indent="0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>
              <a:buNone/>
              <a:defRPr b="1">
                <a:solidFill>
                  <a:schemeClr val="tx2"/>
                </a:solidFill>
              </a:defRPr>
            </a:lvl2pPr>
            <a:lvl3pPr marL="0" indent="0">
              <a:buNone/>
              <a:defRPr b="1">
                <a:solidFill>
                  <a:schemeClr val="tx2"/>
                </a:solidFill>
              </a:defRPr>
            </a:lvl3pPr>
            <a:lvl4pPr marL="0" indent="0">
              <a:buNone/>
              <a:defRPr b="1">
                <a:solidFill>
                  <a:schemeClr val="tx2"/>
                </a:solidFill>
              </a:defRPr>
            </a:lvl4pPr>
            <a:lvl5pPr marL="0" indent="0">
              <a:buNone/>
              <a:defRPr b="1">
                <a:solidFill>
                  <a:schemeClr val="tx2"/>
                </a:solidFill>
              </a:defRPr>
            </a:lvl5pPr>
            <a:lvl6pPr marL="0" indent="0">
              <a:buNone/>
              <a:defRPr b="1">
                <a:solidFill>
                  <a:schemeClr val="tx2"/>
                </a:solidFill>
              </a:defRPr>
            </a:lvl6pPr>
            <a:lvl7pPr marL="0" indent="0">
              <a:buNone/>
              <a:defRPr b="1">
                <a:solidFill>
                  <a:schemeClr val="tx2"/>
                </a:solidFill>
              </a:defRPr>
            </a:lvl7pPr>
            <a:lvl8pPr marL="0" indent="0">
              <a:buNone/>
              <a:defRPr b="1">
                <a:solidFill>
                  <a:schemeClr val="tx2"/>
                </a:solidFill>
              </a:defRPr>
            </a:lvl8pPr>
            <a:lvl9pPr marL="0" indent="0">
              <a:buNone/>
              <a:defRPr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0" name="Text Placeholder 11"/>
          <p:cNvSpPr>
            <a:spLocks noGrp="1"/>
          </p:cNvSpPr>
          <p:nvPr>
            <p:ph type="body" sz="quarter" idx="26"/>
          </p:nvPr>
        </p:nvSpPr>
        <p:spPr bwMode="gray">
          <a:xfrm>
            <a:off x="246937" y="5452639"/>
            <a:ext cx="8643600" cy="460800"/>
          </a:xfrm>
          <a:solidFill>
            <a:schemeClr val="accent3"/>
          </a:solidFill>
        </p:spPr>
        <p:txBody>
          <a:bodyPr lIns="0" tIns="0" rIns="0" anchor="ctr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7"/>
          </p:nvPr>
        </p:nvSpPr>
        <p:spPr bwMode="gray"/>
        <p:txBody>
          <a:bodyPr/>
          <a:lstStyle/>
          <a:p>
            <a:fld id="{AFC62351-A650-4DF6-986F-78B25B039145}" type="datetime4">
              <a:rPr lang="en-US" smtClean="0"/>
              <a:t>December 14, 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8"/>
          </p:nvPr>
        </p:nvSpPr>
        <p:spPr bwMode="gray"/>
        <p:txBody>
          <a:bodyPr/>
          <a:lstStyle/>
          <a:p>
            <a:pPr lvl="8"/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9"/>
          </p:nvPr>
        </p:nvSpPr>
        <p:spPr bwMode="gray"/>
        <p:txBody>
          <a:bodyPr/>
          <a:lstStyle/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Subtitle 2"/>
          <p:cNvSpPr>
            <a:spLocks noGrp="1"/>
          </p:cNvSpPr>
          <p:nvPr>
            <p:ph type="subTitle" idx="13"/>
          </p:nvPr>
        </p:nvSpPr>
        <p:spPr bwMode="gray">
          <a:xfrm>
            <a:off x="247611" y="1085213"/>
            <a:ext cx="8643600" cy="504000"/>
          </a:xfr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4856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9: Title (4) &amp; Content (4) &amp; Box /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2209331" y="1931199"/>
            <a:ext cx="6682161" cy="726353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2209331" y="2801555"/>
            <a:ext cx="6682161" cy="726353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2"/>
          </p:nvPr>
        </p:nvSpPr>
        <p:spPr bwMode="gray">
          <a:xfrm>
            <a:off x="2209331" y="3671911"/>
            <a:ext cx="6682161" cy="726353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26"/>
          </p:nvPr>
        </p:nvSpPr>
        <p:spPr bwMode="gray">
          <a:xfrm>
            <a:off x="246938" y="5452639"/>
            <a:ext cx="8643600" cy="460800"/>
          </a:xfrm>
          <a:solidFill>
            <a:schemeClr val="accent3"/>
          </a:solidFill>
        </p:spPr>
        <p:txBody>
          <a:bodyPr lIns="0" tIns="0" rIns="0" anchor="ctr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3" name="Content Placeholder 3"/>
          <p:cNvSpPr>
            <a:spLocks noGrp="1"/>
          </p:cNvSpPr>
          <p:nvPr>
            <p:ph sz="quarter" idx="27"/>
          </p:nvPr>
        </p:nvSpPr>
        <p:spPr bwMode="gray">
          <a:xfrm>
            <a:off x="247099" y="1931199"/>
            <a:ext cx="1152109" cy="726353"/>
          </a:xfrm>
        </p:spPr>
        <p:txBody>
          <a:bodyPr lIns="0" tIns="0" rIns="0" bIns="0" anchor="ctr"/>
          <a:lstStyle>
            <a:lvl1pPr marL="1588" indent="0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1588" indent="0">
              <a:buNone/>
              <a:defRPr b="1">
                <a:solidFill>
                  <a:schemeClr val="tx2"/>
                </a:solidFill>
              </a:defRPr>
            </a:lvl2pPr>
            <a:lvl3pPr marL="1588" indent="0">
              <a:buNone/>
              <a:defRPr b="1">
                <a:solidFill>
                  <a:schemeClr val="tx2"/>
                </a:solidFill>
              </a:defRPr>
            </a:lvl3pPr>
            <a:lvl4pPr marL="1588" indent="0">
              <a:buNone/>
              <a:defRPr b="1">
                <a:solidFill>
                  <a:schemeClr val="tx2"/>
                </a:solidFill>
              </a:defRPr>
            </a:lvl4pPr>
            <a:lvl5pPr marL="1588" indent="0">
              <a:buNone/>
              <a:defRPr b="1">
                <a:solidFill>
                  <a:schemeClr val="tx2"/>
                </a:solidFill>
              </a:defRPr>
            </a:lvl5pPr>
            <a:lvl6pPr marL="1588" indent="0">
              <a:buNone/>
              <a:defRPr b="1">
                <a:solidFill>
                  <a:schemeClr val="tx2"/>
                </a:solidFill>
              </a:defRPr>
            </a:lvl6pPr>
            <a:lvl7pPr marL="1588" indent="0">
              <a:buNone/>
              <a:defRPr b="1">
                <a:solidFill>
                  <a:schemeClr val="tx2"/>
                </a:solidFill>
              </a:defRPr>
            </a:lvl7pPr>
            <a:lvl8pPr marL="1588" indent="0">
              <a:buNone/>
              <a:defRPr b="1">
                <a:solidFill>
                  <a:schemeClr val="tx2"/>
                </a:solidFill>
              </a:defRPr>
            </a:lvl8pPr>
            <a:lvl9pPr marL="1588" indent="0">
              <a:buNone/>
              <a:defRPr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5" name="Content Placeholder 3"/>
          <p:cNvSpPr>
            <a:spLocks noGrp="1"/>
          </p:cNvSpPr>
          <p:nvPr>
            <p:ph sz="quarter" idx="28"/>
          </p:nvPr>
        </p:nvSpPr>
        <p:spPr bwMode="gray">
          <a:xfrm>
            <a:off x="247099" y="2801555"/>
            <a:ext cx="1152109" cy="726353"/>
          </a:xfrm>
        </p:spPr>
        <p:txBody>
          <a:bodyPr lIns="0" tIns="0" rIns="0" bIns="0" anchor="ctr"/>
          <a:lstStyle>
            <a:lvl1pPr marL="1588" indent="0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1588" indent="0">
              <a:buNone/>
              <a:defRPr b="1">
                <a:solidFill>
                  <a:schemeClr val="tx2"/>
                </a:solidFill>
              </a:defRPr>
            </a:lvl2pPr>
            <a:lvl3pPr marL="1588" indent="0">
              <a:buNone/>
              <a:defRPr b="1">
                <a:solidFill>
                  <a:schemeClr val="tx2"/>
                </a:solidFill>
              </a:defRPr>
            </a:lvl3pPr>
            <a:lvl4pPr marL="1588" indent="0">
              <a:buNone/>
              <a:defRPr b="1">
                <a:solidFill>
                  <a:schemeClr val="tx2"/>
                </a:solidFill>
              </a:defRPr>
            </a:lvl4pPr>
            <a:lvl5pPr marL="1588" indent="0">
              <a:buNone/>
              <a:defRPr b="1">
                <a:solidFill>
                  <a:schemeClr val="tx2"/>
                </a:solidFill>
              </a:defRPr>
            </a:lvl5pPr>
            <a:lvl6pPr marL="1588" indent="0">
              <a:buNone/>
              <a:defRPr b="1">
                <a:solidFill>
                  <a:schemeClr val="tx2"/>
                </a:solidFill>
              </a:defRPr>
            </a:lvl6pPr>
            <a:lvl7pPr marL="1588" indent="0">
              <a:buNone/>
              <a:defRPr b="1">
                <a:solidFill>
                  <a:schemeClr val="tx2"/>
                </a:solidFill>
              </a:defRPr>
            </a:lvl7pPr>
            <a:lvl8pPr marL="1588" indent="0">
              <a:buNone/>
              <a:defRPr b="1">
                <a:solidFill>
                  <a:schemeClr val="tx2"/>
                </a:solidFill>
              </a:defRPr>
            </a:lvl8pPr>
            <a:lvl9pPr marL="1588" indent="0">
              <a:buNone/>
              <a:defRPr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9"/>
          </p:nvPr>
        </p:nvSpPr>
        <p:spPr bwMode="gray">
          <a:xfrm>
            <a:off x="247099" y="3671911"/>
            <a:ext cx="1152109" cy="726353"/>
          </a:xfrm>
        </p:spPr>
        <p:txBody>
          <a:bodyPr lIns="0" tIns="0" rIns="0" bIns="0" anchor="ctr"/>
          <a:lstStyle>
            <a:lvl1pPr marL="1588" indent="0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1588" indent="0">
              <a:buNone/>
              <a:defRPr b="1">
                <a:solidFill>
                  <a:schemeClr val="tx2"/>
                </a:solidFill>
              </a:defRPr>
            </a:lvl2pPr>
            <a:lvl3pPr marL="1588" indent="0">
              <a:buNone/>
              <a:defRPr b="1">
                <a:solidFill>
                  <a:schemeClr val="tx2"/>
                </a:solidFill>
              </a:defRPr>
            </a:lvl3pPr>
            <a:lvl4pPr marL="1588" indent="0">
              <a:buNone/>
              <a:defRPr b="1">
                <a:solidFill>
                  <a:schemeClr val="tx2"/>
                </a:solidFill>
              </a:defRPr>
            </a:lvl4pPr>
            <a:lvl5pPr marL="1588" indent="0">
              <a:buNone/>
              <a:defRPr b="1">
                <a:solidFill>
                  <a:schemeClr val="tx2"/>
                </a:solidFill>
              </a:defRPr>
            </a:lvl5pPr>
            <a:lvl6pPr marL="1588" indent="0">
              <a:buNone/>
              <a:defRPr b="1">
                <a:solidFill>
                  <a:schemeClr val="tx2"/>
                </a:solidFill>
              </a:defRPr>
            </a:lvl6pPr>
            <a:lvl7pPr marL="1588" indent="0">
              <a:buNone/>
              <a:defRPr b="1">
                <a:solidFill>
                  <a:schemeClr val="tx2"/>
                </a:solidFill>
              </a:defRPr>
            </a:lvl7pPr>
            <a:lvl8pPr marL="1588" indent="0">
              <a:buNone/>
              <a:defRPr b="1">
                <a:solidFill>
                  <a:schemeClr val="tx2"/>
                </a:solidFill>
              </a:defRPr>
            </a:lvl8pPr>
            <a:lvl9pPr marL="1588" indent="0">
              <a:buNone/>
              <a:defRPr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7" name="Content Placeholder 3"/>
          <p:cNvSpPr>
            <a:spLocks noGrp="1"/>
          </p:cNvSpPr>
          <p:nvPr>
            <p:ph sz="quarter" idx="30"/>
          </p:nvPr>
        </p:nvSpPr>
        <p:spPr bwMode="gray">
          <a:xfrm>
            <a:off x="2209331" y="4542266"/>
            <a:ext cx="6682161" cy="726353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8" name="Content Placeholder 3"/>
          <p:cNvSpPr>
            <a:spLocks noGrp="1"/>
          </p:cNvSpPr>
          <p:nvPr>
            <p:ph sz="quarter" idx="31"/>
          </p:nvPr>
        </p:nvSpPr>
        <p:spPr bwMode="gray">
          <a:xfrm>
            <a:off x="247099" y="4542266"/>
            <a:ext cx="1152109" cy="726353"/>
          </a:xfrm>
        </p:spPr>
        <p:txBody>
          <a:bodyPr lIns="0" tIns="0" rIns="0" bIns="0" anchor="ctr"/>
          <a:lstStyle>
            <a:lvl1pPr marL="1588" indent="0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1588" indent="0">
              <a:buNone/>
              <a:defRPr b="1">
                <a:solidFill>
                  <a:schemeClr val="tx2"/>
                </a:solidFill>
              </a:defRPr>
            </a:lvl2pPr>
            <a:lvl3pPr marL="1588" indent="0">
              <a:buNone/>
              <a:defRPr b="1">
                <a:solidFill>
                  <a:schemeClr val="tx2"/>
                </a:solidFill>
              </a:defRPr>
            </a:lvl3pPr>
            <a:lvl4pPr marL="1588" indent="0">
              <a:buNone/>
              <a:defRPr b="1">
                <a:solidFill>
                  <a:schemeClr val="tx2"/>
                </a:solidFill>
              </a:defRPr>
            </a:lvl4pPr>
            <a:lvl5pPr marL="1588" indent="0">
              <a:buNone/>
              <a:defRPr b="1">
                <a:solidFill>
                  <a:schemeClr val="tx2"/>
                </a:solidFill>
              </a:defRPr>
            </a:lvl5pPr>
            <a:lvl6pPr marL="1588" indent="0">
              <a:buNone/>
              <a:defRPr b="1">
                <a:solidFill>
                  <a:schemeClr val="tx2"/>
                </a:solidFill>
              </a:defRPr>
            </a:lvl6pPr>
            <a:lvl7pPr marL="1588" indent="0">
              <a:buNone/>
              <a:defRPr b="1">
                <a:solidFill>
                  <a:schemeClr val="tx2"/>
                </a:solidFill>
              </a:defRPr>
            </a:lvl7pPr>
            <a:lvl8pPr marL="1588" indent="0">
              <a:buNone/>
              <a:defRPr b="1">
                <a:solidFill>
                  <a:schemeClr val="tx2"/>
                </a:solidFill>
              </a:defRPr>
            </a:lvl8pPr>
            <a:lvl9pPr marL="1588" indent="0">
              <a:buNone/>
              <a:defRPr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39" name="Straight Connector 13"/>
          <p:cNvCxnSpPr/>
          <p:nvPr userDrawn="1"/>
        </p:nvCxnSpPr>
        <p:spPr bwMode="gray">
          <a:xfrm>
            <a:off x="1499936" y="2800986"/>
            <a:ext cx="0" cy="727200"/>
          </a:xfrm>
          <a:prstGeom prst="line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0" name="Straight Connector 14"/>
          <p:cNvCxnSpPr/>
          <p:nvPr userDrawn="1"/>
        </p:nvCxnSpPr>
        <p:spPr bwMode="gray">
          <a:xfrm>
            <a:off x="1334522" y="3164586"/>
            <a:ext cx="165717" cy="0"/>
          </a:xfrm>
          <a:prstGeom prst="line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1" name="Straight Connector 13"/>
          <p:cNvCxnSpPr/>
          <p:nvPr userDrawn="1"/>
        </p:nvCxnSpPr>
        <p:spPr bwMode="gray">
          <a:xfrm>
            <a:off x="1499936" y="4542262"/>
            <a:ext cx="0" cy="727200"/>
          </a:xfrm>
          <a:prstGeom prst="line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2" name="Straight Connector 14"/>
          <p:cNvCxnSpPr/>
          <p:nvPr userDrawn="1"/>
        </p:nvCxnSpPr>
        <p:spPr bwMode="gray">
          <a:xfrm>
            <a:off x="1334097" y="4905862"/>
            <a:ext cx="165717" cy="0"/>
          </a:xfrm>
          <a:prstGeom prst="line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5" name="Straight Connector 13"/>
          <p:cNvCxnSpPr/>
          <p:nvPr userDrawn="1"/>
        </p:nvCxnSpPr>
        <p:spPr bwMode="gray">
          <a:xfrm>
            <a:off x="1499936" y="1930348"/>
            <a:ext cx="0" cy="727200"/>
          </a:xfrm>
          <a:prstGeom prst="line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6" name="Straight Connector 14"/>
          <p:cNvCxnSpPr/>
          <p:nvPr userDrawn="1"/>
        </p:nvCxnSpPr>
        <p:spPr bwMode="gray">
          <a:xfrm>
            <a:off x="1334858" y="2293948"/>
            <a:ext cx="165717" cy="0"/>
          </a:xfrm>
          <a:prstGeom prst="line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8" name="Straight Connector 13"/>
          <p:cNvCxnSpPr/>
          <p:nvPr userDrawn="1"/>
        </p:nvCxnSpPr>
        <p:spPr bwMode="gray">
          <a:xfrm>
            <a:off x="1499936" y="3671624"/>
            <a:ext cx="0" cy="727200"/>
          </a:xfrm>
          <a:prstGeom prst="line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9" name="Straight Connector 14"/>
          <p:cNvCxnSpPr/>
          <p:nvPr userDrawn="1"/>
        </p:nvCxnSpPr>
        <p:spPr bwMode="gray">
          <a:xfrm>
            <a:off x="1334097" y="4035224"/>
            <a:ext cx="165717" cy="0"/>
          </a:xfrm>
          <a:prstGeom prst="line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51" name="Straight Connector 50"/>
          <p:cNvCxnSpPr/>
          <p:nvPr userDrawn="1"/>
        </p:nvCxnSpPr>
        <p:spPr bwMode="gray">
          <a:xfrm>
            <a:off x="1554590" y="2729549"/>
            <a:ext cx="7336902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 userDrawn="1"/>
        </p:nvCxnSpPr>
        <p:spPr bwMode="gray">
          <a:xfrm>
            <a:off x="1554590" y="3599904"/>
            <a:ext cx="7336902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 userDrawn="1"/>
        </p:nvCxnSpPr>
        <p:spPr bwMode="gray">
          <a:xfrm>
            <a:off x="1554590" y="4470259"/>
            <a:ext cx="7336902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4" name="Date Placeholder 3"/>
          <p:cNvSpPr>
            <a:spLocks noGrp="1"/>
          </p:cNvSpPr>
          <p:nvPr userDrawn="1">
            <p:ph type="dt" sz="half" idx="32"/>
          </p:nvPr>
        </p:nvSpPr>
        <p:spPr bwMode="gray"/>
        <p:txBody>
          <a:bodyPr/>
          <a:lstStyle/>
          <a:p>
            <a:fld id="{ED4418A7-E8E0-42C3-AC0C-9BF91949BA0B}" type="datetime4">
              <a:rPr lang="en-US" smtClean="0"/>
              <a:t>December 14, 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 userDrawn="1">
            <p:ph type="ftr" sz="quarter" idx="33"/>
          </p:nvPr>
        </p:nvSpPr>
        <p:spPr bwMode="gray"/>
        <p:txBody>
          <a:bodyPr/>
          <a:lstStyle/>
          <a:p>
            <a:pPr lvl="8"/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34"/>
          </p:nvPr>
        </p:nvSpPr>
        <p:spPr bwMode="gray"/>
        <p:txBody>
          <a:bodyPr/>
          <a:lstStyle/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4" name="Subtitle 2"/>
          <p:cNvSpPr>
            <a:spLocks noGrp="1"/>
          </p:cNvSpPr>
          <p:nvPr userDrawn="1">
            <p:ph type="subTitle" idx="13"/>
          </p:nvPr>
        </p:nvSpPr>
        <p:spPr bwMode="gray">
          <a:xfrm>
            <a:off x="246937" y="1085213"/>
            <a:ext cx="8643600" cy="504000"/>
          </a:xfr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Symbol zastępczy zawartości 6"/>
          <p:cNvSpPr>
            <a:spLocks noGrp="1"/>
          </p:cNvSpPr>
          <p:nvPr>
            <p:ph sz="quarter" idx="35" hasCustomPrompt="1"/>
          </p:nvPr>
        </p:nvSpPr>
        <p:spPr>
          <a:xfrm>
            <a:off x="1662034" y="2101348"/>
            <a:ext cx="385200" cy="385200"/>
          </a:xfrm>
          <a:prstGeom prst="ellipse">
            <a:avLst/>
          </a:prstGeom>
          <a:solidFill>
            <a:schemeClr val="tx2"/>
          </a:solidFill>
        </p:spPr>
        <p:txBody>
          <a:bodyPr anchor="ctr" anchorCtr="0"/>
          <a:lstStyle>
            <a:lvl1pPr algn="ctr">
              <a:spcBef>
                <a:spcPts val="0"/>
              </a:spcBef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pl-PL" dirty="0"/>
              <a:t>1</a:t>
            </a:r>
            <a:endParaRPr lang="en-US" dirty="0"/>
          </a:p>
        </p:txBody>
      </p:sp>
      <p:sp>
        <p:nvSpPr>
          <p:cNvPr id="54" name="Symbol zastępczy zawartości 6"/>
          <p:cNvSpPr>
            <a:spLocks noGrp="1"/>
          </p:cNvSpPr>
          <p:nvPr>
            <p:ph sz="quarter" idx="36" hasCustomPrompt="1"/>
          </p:nvPr>
        </p:nvSpPr>
        <p:spPr>
          <a:xfrm>
            <a:off x="1662034" y="2972779"/>
            <a:ext cx="385200" cy="385200"/>
          </a:xfrm>
          <a:prstGeom prst="ellipse">
            <a:avLst/>
          </a:prstGeom>
          <a:solidFill>
            <a:schemeClr val="tx2"/>
          </a:solidFill>
        </p:spPr>
        <p:txBody>
          <a:bodyPr anchor="ctr" anchorCtr="0"/>
          <a:lstStyle>
            <a:lvl1pPr algn="ctr">
              <a:spcBef>
                <a:spcPts val="0"/>
              </a:spcBef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pl-PL" dirty="0"/>
              <a:t>2</a:t>
            </a:r>
            <a:endParaRPr lang="en-US" dirty="0"/>
          </a:p>
        </p:txBody>
      </p:sp>
      <p:sp>
        <p:nvSpPr>
          <p:cNvPr id="55" name="Symbol zastępczy zawartości 6"/>
          <p:cNvSpPr>
            <a:spLocks noGrp="1"/>
          </p:cNvSpPr>
          <p:nvPr>
            <p:ph sz="quarter" idx="37" hasCustomPrompt="1"/>
          </p:nvPr>
        </p:nvSpPr>
        <p:spPr>
          <a:xfrm>
            <a:off x="1662625" y="3841840"/>
            <a:ext cx="385200" cy="385200"/>
          </a:xfrm>
          <a:prstGeom prst="ellipse">
            <a:avLst/>
          </a:prstGeom>
          <a:solidFill>
            <a:schemeClr val="tx2"/>
          </a:solidFill>
        </p:spPr>
        <p:txBody>
          <a:bodyPr anchor="ctr" anchorCtr="0"/>
          <a:lstStyle>
            <a:lvl1pPr algn="ctr">
              <a:spcBef>
                <a:spcPts val="0"/>
              </a:spcBef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pl-PL" dirty="0"/>
              <a:t>3</a:t>
            </a:r>
            <a:endParaRPr lang="en-US" dirty="0"/>
          </a:p>
        </p:txBody>
      </p:sp>
      <p:sp>
        <p:nvSpPr>
          <p:cNvPr id="56" name="Symbol zastępczy zawartości 6"/>
          <p:cNvSpPr>
            <a:spLocks noGrp="1"/>
          </p:cNvSpPr>
          <p:nvPr>
            <p:ph sz="quarter" idx="38" hasCustomPrompt="1"/>
          </p:nvPr>
        </p:nvSpPr>
        <p:spPr>
          <a:xfrm>
            <a:off x="1661911" y="4709671"/>
            <a:ext cx="385200" cy="385200"/>
          </a:xfrm>
          <a:prstGeom prst="ellipse">
            <a:avLst/>
          </a:prstGeom>
          <a:solidFill>
            <a:schemeClr val="tx2"/>
          </a:solidFill>
        </p:spPr>
        <p:txBody>
          <a:bodyPr anchor="ctr" anchorCtr="0"/>
          <a:lstStyle>
            <a:lvl1pPr algn="ctr">
              <a:spcBef>
                <a:spcPts val="0"/>
              </a:spcBef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pl-PL" dirty="0"/>
              <a:t>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2953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: Matr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 Placeholder 11"/>
          <p:cNvSpPr>
            <a:spLocks noGrp="1"/>
          </p:cNvSpPr>
          <p:nvPr>
            <p:ph type="body" sz="quarter" idx="26"/>
          </p:nvPr>
        </p:nvSpPr>
        <p:spPr bwMode="gray">
          <a:xfrm>
            <a:off x="1915287" y="1931194"/>
            <a:ext cx="2174698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8" name="Text Placeholder 11"/>
          <p:cNvSpPr>
            <a:spLocks noGrp="1"/>
          </p:cNvSpPr>
          <p:nvPr>
            <p:ph type="body" sz="quarter" idx="27"/>
          </p:nvPr>
        </p:nvSpPr>
        <p:spPr bwMode="gray">
          <a:xfrm>
            <a:off x="4316960" y="1931194"/>
            <a:ext cx="2173877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9" name="Text Placeholder 11"/>
          <p:cNvSpPr>
            <a:spLocks noGrp="1"/>
          </p:cNvSpPr>
          <p:nvPr>
            <p:ph type="body" sz="quarter" idx="28"/>
          </p:nvPr>
        </p:nvSpPr>
        <p:spPr bwMode="gray">
          <a:xfrm>
            <a:off x="6717812" y="1931194"/>
            <a:ext cx="2173877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1915287" y="2317748"/>
            <a:ext cx="2178230" cy="1083600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1915288" y="3573970"/>
            <a:ext cx="2178230" cy="1083600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3"/>
          <p:cNvSpPr>
            <a:spLocks noGrp="1"/>
          </p:cNvSpPr>
          <p:nvPr>
            <p:ph sz="quarter" idx="22"/>
          </p:nvPr>
        </p:nvSpPr>
        <p:spPr bwMode="gray">
          <a:xfrm>
            <a:off x="1915288" y="4830194"/>
            <a:ext cx="2178230" cy="1083600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247610" y="1931196"/>
            <a:ext cx="1437824" cy="1231942"/>
          </a:xfrm>
        </p:spPr>
        <p:txBody>
          <a:bodyPr lIns="0" tIns="0" rIns="0" bIns="0" anchor="ctr"/>
          <a:lstStyle>
            <a:lvl1pPr marL="0" indent="0" algn="l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 algn="l">
              <a:buNone/>
              <a:defRPr b="1">
                <a:solidFill>
                  <a:schemeClr val="tx2"/>
                </a:solidFill>
              </a:defRPr>
            </a:lvl2pPr>
            <a:lvl3pPr marL="0" indent="0" algn="l">
              <a:buNone/>
              <a:defRPr b="1">
                <a:solidFill>
                  <a:schemeClr val="tx2"/>
                </a:solidFill>
              </a:defRPr>
            </a:lvl3pPr>
            <a:lvl4pPr marL="0" indent="0" algn="l">
              <a:buNone/>
              <a:defRPr b="1">
                <a:solidFill>
                  <a:schemeClr val="tx2"/>
                </a:solidFill>
              </a:defRPr>
            </a:lvl4pPr>
            <a:lvl5pPr marL="0" indent="0" algn="l">
              <a:buNone/>
              <a:defRPr b="1">
                <a:solidFill>
                  <a:schemeClr val="tx2"/>
                </a:solidFill>
              </a:defRPr>
            </a:lvl5pPr>
            <a:lvl6pPr marL="0" indent="0" algn="l">
              <a:buNone/>
              <a:defRPr b="1">
                <a:solidFill>
                  <a:schemeClr val="tx2"/>
                </a:solidFill>
              </a:defRPr>
            </a:lvl6pPr>
            <a:lvl7pPr marL="0" indent="0" algn="l">
              <a:buNone/>
              <a:defRPr b="1">
                <a:solidFill>
                  <a:schemeClr val="tx2"/>
                </a:solidFill>
              </a:defRPr>
            </a:lvl7pPr>
            <a:lvl8pPr marL="0" indent="0" algn="l">
              <a:buNone/>
              <a:defRPr b="1">
                <a:solidFill>
                  <a:schemeClr val="tx2"/>
                </a:solidFill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24"/>
          </p:nvPr>
        </p:nvSpPr>
        <p:spPr bwMode="gray">
          <a:xfrm>
            <a:off x="247610" y="3305949"/>
            <a:ext cx="1437824" cy="1231942"/>
          </a:xfrm>
        </p:spPr>
        <p:txBody>
          <a:bodyPr lIns="0" tIns="0" rIns="0" bIns="0" anchor="ctr"/>
          <a:lstStyle>
            <a:lvl1pPr marL="0" indent="0" algn="l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 algn="l">
              <a:buNone/>
              <a:defRPr b="1">
                <a:solidFill>
                  <a:schemeClr val="tx2"/>
                </a:solidFill>
              </a:defRPr>
            </a:lvl2pPr>
            <a:lvl3pPr marL="0" indent="0" algn="l">
              <a:buNone/>
              <a:defRPr b="1">
                <a:solidFill>
                  <a:schemeClr val="tx2"/>
                </a:solidFill>
              </a:defRPr>
            </a:lvl3pPr>
            <a:lvl4pPr marL="0" indent="0" algn="l">
              <a:buNone/>
              <a:defRPr b="1">
                <a:solidFill>
                  <a:schemeClr val="tx2"/>
                </a:solidFill>
              </a:defRPr>
            </a:lvl4pPr>
            <a:lvl5pPr marL="0" indent="0" algn="l">
              <a:buNone/>
              <a:defRPr b="1">
                <a:solidFill>
                  <a:schemeClr val="tx2"/>
                </a:solidFill>
              </a:defRPr>
            </a:lvl5pPr>
            <a:lvl6pPr marL="0" indent="0" algn="l">
              <a:buNone/>
              <a:defRPr b="1">
                <a:solidFill>
                  <a:schemeClr val="tx2"/>
                </a:solidFill>
              </a:defRPr>
            </a:lvl6pPr>
            <a:lvl7pPr marL="0" indent="0" algn="l">
              <a:buNone/>
              <a:defRPr b="1">
                <a:solidFill>
                  <a:schemeClr val="tx2"/>
                </a:solidFill>
              </a:defRPr>
            </a:lvl7pPr>
            <a:lvl8pPr marL="0" indent="0" algn="l">
              <a:buNone/>
              <a:defRPr b="1">
                <a:solidFill>
                  <a:schemeClr val="tx2"/>
                </a:solidFill>
              </a:defRPr>
            </a:lvl8pPr>
            <a:lvl9pPr marL="0" indent="0" algn="l">
              <a:buNone/>
              <a:defRPr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247610" y="4680702"/>
            <a:ext cx="1437824" cy="1231942"/>
          </a:xfrm>
        </p:spPr>
        <p:txBody>
          <a:bodyPr lIns="0" tIns="0" rIns="0" bIns="0" anchor="ctr"/>
          <a:lstStyle>
            <a:lvl1pPr marL="0" indent="0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>
              <a:buNone/>
              <a:defRPr b="1">
                <a:solidFill>
                  <a:schemeClr val="tx2"/>
                </a:solidFill>
              </a:defRPr>
            </a:lvl2pPr>
            <a:lvl3pPr marL="0" indent="0">
              <a:buNone/>
              <a:defRPr b="1">
                <a:solidFill>
                  <a:schemeClr val="tx2"/>
                </a:solidFill>
              </a:defRPr>
            </a:lvl3pPr>
            <a:lvl4pPr marL="0" indent="0">
              <a:buNone/>
              <a:defRPr b="1">
                <a:solidFill>
                  <a:schemeClr val="tx2"/>
                </a:solidFill>
              </a:defRPr>
            </a:lvl4pPr>
            <a:lvl5pPr marL="0" indent="0">
              <a:buNone/>
              <a:defRPr b="1">
                <a:solidFill>
                  <a:schemeClr val="tx2"/>
                </a:solidFill>
              </a:defRPr>
            </a:lvl5pPr>
            <a:lvl6pPr marL="0" indent="0">
              <a:buNone/>
              <a:defRPr b="1">
                <a:solidFill>
                  <a:schemeClr val="tx2"/>
                </a:solidFill>
              </a:defRPr>
            </a:lvl6pPr>
            <a:lvl7pPr marL="0" indent="0">
              <a:buNone/>
              <a:defRPr b="1">
                <a:solidFill>
                  <a:schemeClr val="tx2"/>
                </a:solidFill>
              </a:defRPr>
            </a:lvl7pPr>
            <a:lvl8pPr marL="0" indent="0">
              <a:buNone/>
              <a:defRPr b="1">
                <a:solidFill>
                  <a:schemeClr val="tx2"/>
                </a:solidFill>
              </a:defRPr>
            </a:lvl8pPr>
            <a:lvl9pPr marL="0" indent="0">
              <a:buNone/>
              <a:defRPr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28" name="Straight Connector 27"/>
          <p:cNvCxnSpPr/>
          <p:nvPr userDrawn="1"/>
        </p:nvCxnSpPr>
        <p:spPr bwMode="gray">
          <a:xfrm>
            <a:off x="1915287" y="2238607"/>
            <a:ext cx="2173877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 userDrawn="1"/>
        </p:nvCxnSpPr>
        <p:spPr bwMode="gray">
          <a:xfrm>
            <a:off x="1913102" y="3487659"/>
            <a:ext cx="2173877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 userDrawn="1"/>
        </p:nvCxnSpPr>
        <p:spPr bwMode="gray">
          <a:xfrm>
            <a:off x="1913102" y="4743881"/>
            <a:ext cx="2173877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 userDrawn="1"/>
        </p:nvCxnSpPr>
        <p:spPr bwMode="gray">
          <a:xfrm>
            <a:off x="4316550" y="2238607"/>
            <a:ext cx="2173877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 userDrawn="1"/>
        </p:nvCxnSpPr>
        <p:spPr bwMode="gray">
          <a:xfrm>
            <a:off x="4315457" y="3487659"/>
            <a:ext cx="2173877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 userDrawn="1"/>
        </p:nvCxnSpPr>
        <p:spPr bwMode="gray">
          <a:xfrm>
            <a:off x="4315457" y="4743881"/>
            <a:ext cx="2173877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 userDrawn="1"/>
        </p:nvCxnSpPr>
        <p:spPr bwMode="gray">
          <a:xfrm>
            <a:off x="6717812" y="2238607"/>
            <a:ext cx="2173877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 userDrawn="1"/>
        </p:nvCxnSpPr>
        <p:spPr bwMode="gray">
          <a:xfrm>
            <a:off x="6717812" y="3487659"/>
            <a:ext cx="2173877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 userDrawn="1"/>
        </p:nvCxnSpPr>
        <p:spPr bwMode="gray">
          <a:xfrm>
            <a:off x="6717812" y="4743881"/>
            <a:ext cx="2173877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43" name="Content Placeholder 3"/>
          <p:cNvSpPr>
            <a:spLocks noGrp="1"/>
          </p:cNvSpPr>
          <p:nvPr>
            <p:ph sz="quarter" idx="29"/>
          </p:nvPr>
        </p:nvSpPr>
        <p:spPr bwMode="gray">
          <a:xfrm>
            <a:off x="4318726" y="2317748"/>
            <a:ext cx="2173877" cy="1083600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4" name="Content Placeholder 3"/>
          <p:cNvSpPr>
            <a:spLocks noGrp="1"/>
          </p:cNvSpPr>
          <p:nvPr>
            <p:ph sz="quarter" idx="30"/>
          </p:nvPr>
        </p:nvSpPr>
        <p:spPr bwMode="gray">
          <a:xfrm>
            <a:off x="4318727" y="3573970"/>
            <a:ext cx="2173877" cy="1083600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5" name="Content Placeholder 3"/>
          <p:cNvSpPr>
            <a:spLocks noGrp="1"/>
          </p:cNvSpPr>
          <p:nvPr>
            <p:ph sz="quarter" idx="31"/>
          </p:nvPr>
        </p:nvSpPr>
        <p:spPr bwMode="gray">
          <a:xfrm>
            <a:off x="4318727" y="4830194"/>
            <a:ext cx="2173877" cy="1083600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6" name="Content Placeholder 3"/>
          <p:cNvSpPr>
            <a:spLocks noGrp="1"/>
          </p:cNvSpPr>
          <p:nvPr>
            <p:ph sz="quarter" idx="32"/>
          </p:nvPr>
        </p:nvSpPr>
        <p:spPr bwMode="gray">
          <a:xfrm>
            <a:off x="6717812" y="2317748"/>
            <a:ext cx="2173877" cy="1083600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7" name="Content Placeholder 3"/>
          <p:cNvSpPr>
            <a:spLocks noGrp="1"/>
          </p:cNvSpPr>
          <p:nvPr>
            <p:ph sz="quarter" idx="33"/>
          </p:nvPr>
        </p:nvSpPr>
        <p:spPr bwMode="gray">
          <a:xfrm>
            <a:off x="6717812" y="3573970"/>
            <a:ext cx="2173877" cy="1083600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8" name="Content Placeholder 3"/>
          <p:cNvSpPr>
            <a:spLocks noGrp="1"/>
          </p:cNvSpPr>
          <p:nvPr>
            <p:ph sz="quarter" idx="34"/>
          </p:nvPr>
        </p:nvSpPr>
        <p:spPr bwMode="gray">
          <a:xfrm>
            <a:off x="6717812" y="4830194"/>
            <a:ext cx="2173877" cy="1083600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35"/>
          </p:nvPr>
        </p:nvSpPr>
        <p:spPr bwMode="gray"/>
        <p:txBody>
          <a:bodyPr/>
          <a:lstStyle/>
          <a:p>
            <a:fld id="{61D1DE91-E2DE-4375-B4FF-ECFCEDDDCBE0}" type="datetime4">
              <a:rPr lang="en-US" smtClean="0"/>
              <a:t>December 14, 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6"/>
          </p:nvPr>
        </p:nvSpPr>
        <p:spPr bwMode="gray"/>
        <p:txBody>
          <a:bodyPr/>
          <a:lstStyle/>
          <a:p>
            <a:pPr lvl="8"/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7"/>
          </p:nvPr>
        </p:nvSpPr>
        <p:spPr bwMode="gray"/>
        <p:txBody>
          <a:bodyPr/>
          <a:lstStyle/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1" name="Subtitle 2"/>
          <p:cNvSpPr>
            <a:spLocks noGrp="1"/>
          </p:cNvSpPr>
          <p:nvPr>
            <p:ph type="subTitle" idx="13"/>
          </p:nvPr>
        </p:nvSpPr>
        <p:spPr bwMode="gray">
          <a:xfrm>
            <a:off x="246937" y="1085213"/>
            <a:ext cx="8643600" cy="504000"/>
          </a:xfr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45440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: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 bwMode="gray">
          <a:xfrm>
            <a:off x="2" y="0"/>
            <a:ext cx="9145588" cy="6858000"/>
          </a:xfrm>
          <a:prstGeom prst="rect">
            <a:avLst/>
          </a:prstGeom>
          <a:solidFill>
            <a:srgbClr val="FF000F"/>
          </a:solidFill>
          <a:ln w="25400" cap="flat" cmpd="sng" algn="ctr">
            <a:noFill/>
            <a:prstDash val="solid"/>
          </a:ln>
          <a:effectLst/>
        </p:spPr>
        <p:txBody>
          <a:bodyPr lIns="72009" tIns="72009" rIns="72009" bIns="72009" rtlCol="0" anchor="ctr"/>
          <a:lstStyle/>
          <a:p>
            <a:pPr marL="0" marR="0" lvl="0" indent="0" algn="ctr" defTabSz="91449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6E74830-4434-43F8-A9D5-8532837E0C56}"/>
              </a:ext>
            </a:extLst>
          </p:cNvPr>
          <p:cNvSpPr/>
          <p:nvPr userDrawn="1"/>
        </p:nvSpPr>
        <p:spPr bwMode="gray">
          <a:xfrm>
            <a:off x="244800" y="414450"/>
            <a:ext cx="413300" cy="1583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de-DE" sz="3200" b="1" dirty="0">
                <a:solidFill>
                  <a:schemeClr val="bg1"/>
                </a:solidFill>
              </a:rPr>
              <a:t>—</a:t>
            </a:r>
            <a:endParaRPr lang="en-US" sz="3200" b="1" dirty="0">
              <a:solidFill>
                <a:schemeClr val="bg1"/>
              </a:solidFill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E32E205-D80C-4E0A-9E92-7833967F63E5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334799" y="721799"/>
            <a:ext cx="8558375" cy="504001"/>
          </a:xfrm>
        </p:spPr>
        <p:txBody>
          <a:bodyPr lIns="0" tIns="0" rIns="0" bIns="0" anchor="b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7A4B8EDC-B74D-4AFA-B762-31A453C6490D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334800" y="1267747"/>
            <a:ext cx="8558374" cy="360865"/>
          </a:xfrm>
        </p:spPr>
        <p:txBody>
          <a:bodyPr lIns="0" tIns="0" rIns="0" bIns="0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1291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1: Proc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11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47610" y="1931945"/>
            <a:ext cx="2732875" cy="360000"/>
          </a:xfrm>
          <a:prstGeom prst="homePlate">
            <a:avLst/>
          </a:prstGeom>
          <a:solidFill>
            <a:schemeClr val="accent4"/>
          </a:solidFill>
        </p:spPr>
        <p:txBody>
          <a:bodyPr lIns="28800" tIns="0" rIns="28800" anchor="ctr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3204403" y="1931945"/>
            <a:ext cx="2732875" cy="360000"/>
          </a:xfrm>
          <a:prstGeom prst="chevron">
            <a:avLst/>
          </a:prstGeom>
          <a:solidFill>
            <a:schemeClr val="accent4"/>
          </a:solidFill>
        </p:spPr>
        <p:txBody>
          <a:bodyPr lIns="28800" tIns="0" rIns="28800" anchor="ctr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11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6158814" y="1931945"/>
            <a:ext cx="2732875" cy="360000"/>
          </a:xfrm>
          <a:prstGeom prst="chevron">
            <a:avLst/>
          </a:prstGeom>
          <a:solidFill>
            <a:schemeClr val="accent4"/>
          </a:solidFill>
        </p:spPr>
        <p:txBody>
          <a:bodyPr lIns="28800" tIns="0" rIns="28800" anchor="ctr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 lvl="8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00C3FEDD-2DA3-4289-9B1F-96211D1B5114}" type="datetime4">
              <a:rPr lang="en-US" smtClean="0"/>
              <a:t>December 14, 2020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247610" y="2402146"/>
            <a:ext cx="2732875" cy="3511294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3204403" y="2402146"/>
            <a:ext cx="2732875" cy="3511294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Content Placeholder 3"/>
          <p:cNvSpPr>
            <a:spLocks noGrp="1"/>
          </p:cNvSpPr>
          <p:nvPr>
            <p:ph sz="quarter" idx="27"/>
          </p:nvPr>
        </p:nvSpPr>
        <p:spPr bwMode="gray">
          <a:xfrm>
            <a:off x="6158814" y="2402146"/>
            <a:ext cx="2732875" cy="3511294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27" name="Straight Connector 26"/>
          <p:cNvCxnSpPr/>
          <p:nvPr userDrawn="1"/>
        </p:nvCxnSpPr>
        <p:spPr bwMode="gray">
          <a:xfrm>
            <a:off x="3093635" y="2473348"/>
            <a:ext cx="0" cy="344009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 userDrawn="1"/>
        </p:nvCxnSpPr>
        <p:spPr bwMode="gray">
          <a:xfrm>
            <a:off x="6048047" y="2473348"/>
            <a:ext cx="0" cy="344009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7" name="Subtitle 2"/>
          <p:cNvSpPr>
            <a:spLocks noGrp="1"/>
          </p:cNvSpPr>
          <p:nvPr>
            <p:ph type="subTitle" idx="13"/>
          </p:nvPr>
        </p:nvSpPr>
        <p:spPr bwMode="gray">
          <a:xfrm>
            <a:off x="246937" y="1085213"/>
            <a:ext cx="8643600" cy="504000"/>
          </a:xfr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9577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2: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7"/>
          </p:nvPr>
        </p:nvSpPr>
        <p:spPr bwMode="gray">
          <a:xfrm>
            <a:off x="2" y="0"/>
            <a:ext cx="9145588" cy="6858000"/>
          </a:xfrm>
          <a:custGeom>
            <a:avLst/>
            <a:gdLst>
              <a:gd name="connsiteX0" fmla="*/ 248442 w 9145588"/>
              <a:gd name="connsiteY0" fmla="*/ 531962 h 6858000"/>
              <a:gd name="connsiteX1" fmla="*/ 248442 w 9145588"/>
              <a:gd name="connsiteY1" fmla="*/ 560762 h 6858000"/>
              <a:gd name="connsiteX2" fmla="*/ 475242 w 9145588"/>
              <a:gd name="connsiteY2" fmla="*/ 560762 h 6858000"/>
              <a:gd name="connsiteX3" fmla="*/ 475242 w 9145588"/>
              <a:gd name="connsiteY3" fmla="*/ 531962 h 6858000"/>
              <a:gd name="connsiteX4" fmla="*/ 0 w 9145588"/>
              <a:gd name="connsiteY4" fmla="*/ 0 h 6858000"/>
              <a:gd name="connsiteX5" fmla="*/ 9145588 w 9145588"/>
              <a:gd name="connsiteY5" fmla="*/ 0 h 6858000"/>
              <a:gd name="connsiteX6" fmla="*/ 9145588 w 9145588"/>
              <a:gd name="connsiteY6" fmla="*/ 6858000 h 6858000"/>
              <a:gd name="connsiteX7" fmla="*/ 0 w 9145588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45588" h="6858000">
                <a:moveTo>
                  <a:pt x="248442" y="531962"/>
                </a:moveTo>
                <a:lnTo>
                  <a:pt x="248442" y="560762"/>
                </a:lnTo>
                <a:lnTo>
                  <a:pt x="475242" y="560762"/>
                </a:lnTo>
                <a:lnTo>
                  <a:pt x="475242" y="531962"/>
                </a:lnTo>
                <a:close/>
                <a:moveTo>
                  <a:pt x="0" y="0"/>
                </a:moveTo>
                <a:lnTo>
                  <a:pt x="9145588" y="0"/>
                </a:lnTo>
                <a:lnTo>
                  <a:pt x="9145588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46937" y="622788"/>
            <a:ext cx="8643600" cy="396000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A1F808C0-290B-4263-8A52-B569B4875133}" type="datetime4">
              <a:rPr lang="en-US" smtClean="0"/>
              <a:pPr/>
              <a:t>December 14, 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Rectangle 12"/>
          <p:cNvSpPr/>
          <p:nvPr userDrawn="1"/>
        </p:nvSpPr>
        <p:spPr bwMode="gray">
          <a:xfrm>
            <a:off x="155501" y="447781"/>
            <a:ext cx="413300" cy="1583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de-DE" sz="1800" b="1" dirty="0">
                <a:solidFill>
                  <a:srgbClr val="FF0000"/>
                </a:solidFill>
              </a:rPr>
              <a:t>—</a:t>
            </a:r>
            <a:endParaRPr lang="en-US" sz="18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7371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3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fld id="{A1F808C0-290B-4263-8A52-B569B4875133}" type="datetime4">
              <a:rPr lang="en-US" smtClean="0"/>
              <a:t>December 14, 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pPr lvl="8"/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3"/>
          </p:nvPr>
        </p:nvSpPr>
        <p:spPr bwMode="gray">
          <a:xfrm>
            <a:off x="246938" y="1085213"/>
            <a:ext cx="8643600" cy="504000"/>
          </a:xfr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6464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4: 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70479A72-920A-415B-8469-E7772A79C549}" type="datetime4">
              <a:rPr lang="en-US" smtClean="0"/>
              <a:t>December 14, 2020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19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924406" y="2793573"/>
            <a:ext cx="3296776" cy="12640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94793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: 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18E48C0E-B2DC-4E96-8503-30A5CE0F71AB}"/>
              </a:ext>
            </a:extLst>
          </p:cNvPr>
          <p:cNvSpPr/>
          <p:nvPr userDrawn="1"/>
        </p:nvSpPr>
        <p:spPr bwMode="gray">
          <a:xfrm>
            <a:off x="244800" y="414450"/>
            <a:ext cx="413300" cy="1583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de-DE" sz="3200" b="1" dirty="0">
                <a:solidFill>
                  <a:schemeClr val="bg2"/>
                </a:solidFill>
              </a:rPr>
              <a:t>—</a:t>
            </a:r>
            <a:endParaRPr lang="en-US" sz="3200" b="1" dirty="0">
              <a:solidFill>
                <a:schemeClr val="bg2"/>
              </a:solidFill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36D742EA-D5C9-48D8-81E1-280EB7259AA6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334799" y="721799"/>
            <a:ext cx="8558375" cy="504001"/>
          </a:xfrm>
        </p:spPr>
        <p:txBody>
          <a:bodyPr lIns="0" tIns="0" rIns="0" bIns="0" anchor="b"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6482AC24-42A4-409D-B027-A606B54ABBB0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334800" y="1267747"/>
            <a:ext cx="8558374" cy="360865"/>
          </a:xfrm>
        </p:spPr>
        <p:txBody>
          <a:bodyPr lIns="0" tIns="0" rIns="0" bIns="0"/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0462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: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7"/>
          </p:nvPr>
        </p:nvSpPr>
        <p:spPr bwMode="gray">
          <a:xfrm>
            <a:off x="246938" y="1931197"/>
            <a:ext cx="8643600" cy="3980439"/>
          </a:xfrm>
        </p:spPr>
        <p:txBody>
          <a:bodyPr/>
          <a:lstStyle>
            <a:lvl1pPr>
              <a:spcBef>
                <a:spcPts val="900"/>
              </a:spcBef>
              <a:defRPr sz="2000"/>
            </a:lvl1pPr>
            <a:lvl2pPr marL="0" indent="0">
              <a:spcBef>
                <a:spcPts val="900"/>
              </a:spcBef>
              <a:buNone/>
              <a:defRPr sz="2000">
                <a:solidFill>
                  <a:schemeClr val="accent4"/>
                </a:solidFill>
              </a:defRPr>
            </a:lvl2pPr>
            <a:lvl3pPr marL="252025" indent="-252025">
              <a:spcBef>
                <a:spcPts val="900"/>
              </a:spcBef>
              <a:buClr>
                <a:schemeClr val="accent4"/>
              </a:buClr>
              <a:buFont typeface="Symbol" panose="05050102010706020507" pitchFamily="18" charset="2"/>
              <a:buChar char=""/>
              <a:defRPr sz="2000">
                <a:solidFill>
                  <a:schemeClr val="accent4"/>
                </a:solidFill>
              </a:defRPr>
            </a:lvl3pPr>
            <a:lvl4pPr marL="252025" indent="-252025">
              <a:spcBef>
                <a:spcPts val="900"/>
              </a:spcBef>
              <a:buClr>
                <a:schemeClr val="accent4"/>
              </a:buClr>
              <a:buFont typeface="Symbol" panose="05050102010706020507" pitchFamily="18" charset="2"/>
              <a:buChar char=""/>
              <a:defRPr sz="2000">
                <a:solidFill>
                  <a:schemeClr val="accent4"/>
                </a:solidFill>
              </a:defRPr>
            </a:lvl4pPr>
            <a:lvl5pPr marL="252025" indent="-252025">
              <a:spcBef>
                <a:spcPts val="900"/>
              </a:spcBef>
              <a:buClr>
                <a:schemeClr val="accent4"/>
              </a:buClr>
              <a:buFont typeface="Symbol" panose="05050102010706020507" pitchFamily="18" charset="2"/>
              <a:buChar char=""/>
              <a:defRPr sz="2000">
                <a:solidFill>
                  <a:schemeClr val="accent4"/>
                </a:solidFill>
              </a:defRPr>
            </a:lvl5pPr>
            <a:lvl6pPr marL="252025" indent="-252025">
              <a:spcBef>
                <a:spcPts val="900"/>
              </a:spcBef>
              <a:buClr>
                <a:schemeClr val="accent4"/>
              </a:buClr>
              <a:buFont typeface="Symbol" panose="05050102010706020507" pitchFamily="18" charset="2"/>
              <a:buChar char=""/>
              <a:defRPr sz="2000">
                <a:solidFill>
                  <a:schemeClr val="accent4"/>
                </a:solidFill>
              </a:defRPr>
            </a:lvl6pPr>
            <a:lvl7pPr marL="252025" indent="-252025">
              <a:spcBef>
                <a:spcPts val="900"/>
              </a:spcBef>
              <a:buClr>
                <a:schemeClr val="accent4"/>
              </a:buClr>
              <a:buFont typeface="Symbol" panose="05050102010706020507" pitchFamily="18" charset="2"/>
              <a:buChar char=""/>
              <a:defRPr sz="2000">
                <a:solidFill>
                  <a:schemeClr val="accent4"/>
                </a:solidFill>
              </a:defRPr>
            </a:lvl7pPr>
            <a:lvl8pPr marL="252025" indent="-252025">
              <a:spcBef>
                <a:spcPts val="900"/>
              </a:spcBef>
              <a:buClr>
                <a:schemeClr val="accent4"/>
              </a:buClr>
              <a:buFont typeface="Symbol" panose="05050102010706020507" pitchFamily="18" charset="2"/>
              <a:buChar char=""/>
              <a:defRPr sz="2000">
                <a:solidFill>
                  <a:schemeClr val="accent4"/>
                </a:solidFill>
              </a:defRPr>
            </a:lvl8pPr>
            <a:lvl9pPr marL="252025" indent="-252025">
              <a:spcBef>
                <a:spcPts val="900"/>
              </a:spcBef>
              <a:buClr>
                <a:schemeClr val="accent4"/>
              </a:buClr>
              <a:buFont typeface="Symbol" panose="05050102010706020507" pitchFamily="18" charset="2"/>
              <a:buChar char=""/>
              <a:defRPr sz="20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8"/>
          </p:nvPr>
        </p:nvSpPr>
        <p:spPr bwMode="gray"/>
        <p:txBody>
          <a:bodyPr/>
          <a:lstStyle/>
          <a:p>
            <a:fld id="{F7AFF65D-AAB4-46ED-A858-A6BA48891152}" type="datetime4">
              <a:rPr lang="en-US" smtClean="0"/>
              <a:t>December 14, 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9"/>
          </p:nvPr>
        </p:nvSpPr>
        <p:spPr bwMode="gray"/>
        <p:txBody>
          <a:bodyPr/>
          <a:lstStyle/>
          <a:p>
            <a:pPr lvl="8"/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20"/>
          </p:nvPr>
        </p:nvSpPr>
        <p:spPr bwMode="gray"/>
        <p:txBody>
          <a:bodyPr/>
          <a:lstStyle/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4770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: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34684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ntent Placeholder 8"/>
          <p:cNvSpPr>
            <a:spLocks noGrp="1"/>
          </p:cNvSpPr>
          <p:nvPr>
            <p:ph sz="quarter" idx="21"/>
          </p:nvPr>
        </p:nvSpPr>
        <p:spPr bwMode="gray">
          <a:xfrm>
            <a:off x="246938" y="1931198"/>
            <a:ext cx="8643600" cy="39822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8"/>
          </p:nvPr>
        </p:nvSpPr>
        <p:spPr bwMode="gray"/>
        <p:txBody>
          <a:bodyPr/>
          <a:lstStyle/>
          <a:p>
            <a:fld id="{FFAB2352-921F-4DD8-A99A-A1474F6943FF}" type="datetime4">
              <a:rPr lang="en-US" smtClean="0"/>
              <a:t>December 14, 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9"/>
          </p:nvPr>
        </p:nvSpPr>
        <p:spPr bwMode="gray"/>
        <p:txBody>
          <a:bodyPr/>
          <a:lstStyle/>
          <a:p>
            <a:pPr lvl="8"/>
            <a:endParaRPr lang="en-US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0"/>
          </p:nvPr>
        </p:nvSpPr>
        <p:spPr bwMode="gray"/>
        <p:txBody>
          <a:bodyPr/>
          <a:lstStyle/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247611" y="1085213"/>
            <a:ext cx="8643600" cy="504000"/>
          </a:xfr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88424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: Content &amp;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965800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ntent Placeholder 8"/>
          <p:cNvSpPr>
            <a:spLocks noGrp="1"/>
          </p:cNvSpPr>
          <p:nvPr>
            <p:ph sz="quarter" idx="21"/>
          </p:nvPr>
        </p:nvSpPr>
        <p:spPr bwMode="gray">
          <a:xfrm>
            <a:off x="246938" y="1931195"/>
            <a:ext cx="8643600" cy="343099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8"/>
          </p:nvPr>
        </p:nvSpPr>
        <p:spPr bwMode="gray"/>
        <p:txBody>
          <a:bodyPr/>
          <a:lstStyle/>
          <a:p>
            <a:fld id="{FFAB2352-921F-4DD8-A99A-A1474F6943FF}" type="datetime4">
              <a:rPr lang="en-US" smtClean="0"/>
              <a:t>December 14, 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9"/>
          </p:nvPr>
        </p:nvSpPr>
        <p:spPr bwMode="gray"/>
        <p:txBody>
          <a:bodyPr/>
          <a:lstStyle/>
          <a:p>
            <a:pPr lvl="8"/>
            <a:endParaRPr lang="en-US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0"/>
          </p:nvPr>
        </p:nvSpPr>
        <p:spPr bwMode="gray"/>
        <p:txBody>
          <a:bodyPr/>
          <a:lstStyle/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246934" y="1085213"/>
            <a:ext cx="8643600" cy="504000"/>
          </a:xfr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9"/>
          </p:nvPr>
        </p:nvSpPr>
        <p:spPr bwMode="gray">
          <a:xfrm>
            <a:off x="246934" y="5453067"/>
            <a:ext cx="8643600" cy="460375"/>
          </a:xfrm>
          <a:solidFill>
            <a:schemeClr val="accent3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02066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56"/>
            </p:custDataLst>
            <p:extLst>
              <p:ext uri="{D42A27DB-BD31-4B8C-83A1-F6EECF244321}">
                <p14:modId xmlns:p14="http://schemas.microsoft.com/office/powerpoint/2010/main" val="12016627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7" imgW="270" imgH="270" progId="TCLayout.ActiveDocument.1">
                  <p:embed/>
                </p:oleObj>
              </mc:Choice>
              <mc:Fallback>
                <p:oleObj name="think-cell Slide" r:id="rId57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47610" y="682313"/>
            <a:ext cx="8643600" cy="39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2416331" y="6298397"/>
            <a:ext cx="5609036" cy="500072"/>
          </a:xfrm>
          <a:prstGeom prst="rect">
            <a:avLst/>
          </a:prstGeom>
          <a:noFill/>
        </p:spPr>
        <p:txBody>
          <a:bodyPr vert="horz" lIns="0" tIns="0" rIns="0" bIns="0" rtlCol="0" anchor="ctr">
            <a:noAutofit/>
          </a:bodyPr>
          <a:lstStyle>
            <a:lvl1pPr algn="l" rtl="0">
              <a:defRPr sz="1000">
                <a:solidFill>
                  <a:schemeClr val="accent3"/>
                </a:solidFill>
              </a:defRPr>
            </a:lvl1pPr>
            <a:lvl2pPr marL="0" indent="0">
              <a:defRPr sz="1000">
                <a:solidFill>
                  <a:schemeClr val="accent3"/>
                </a:solidFill>
              </a:defRPr>
            </a:lvl2pPr>
            <a:lvl3pPr marL="0" indent="0">
              <a:defRPr sz="1000">
                <a:solidFill>
                  <a:schemeClr val="accent3"/>
                </a:solidFill>
              </a:defRPr>
            </a:lvl3pPr>
            <a:lvl4pPr marL="0" indent="0">
              <a:defRPr sz="1000">
                <a:solidFill>
                  <a:schemeClr val="accent3"/>
                </a:solidFill>
              </a:defRPr>
            </a:lvl4pPr>
            <a:lvl5pPr marL="0" indent="0">
              <a:defRPr sz="1000">
                <a:solidFill>
                  <a:schemeClr val="accent3"/>
                </a:solidFill>
              </a:defRPr>
            </a:lvl5pPr>
            <a:lvl6pPr marL="0" indent="0">
              <a:defRPr sz="1000">
                <a:solidFill>
                  <a:schemeClr val="accent3"/>
                </a:solidFill>
              </a:defRPr>
            </a:lvl6pPr>
            <a:lvl7pPr marL="0" indent="0">
              <a:defRPr sz="1000">
                <a:solidFill>
                  <a:schemeClr val="accent3"/>
                </a:solidFill>
              </a:defRPr>
            </a:lvl7pPr>
            <a:lvl8pPr marL="0" indent="0">
              <a:defRPr sz="1000">
                <a:solidFill>
                  <a:schemeClr val="accent3"/>
                </a:solidFill>
              </a:defRPr>
            </a:lvl8pPr>
            <a:lvl9pPr marL="0" indent="0">
              <a:defRPr sz="1000">
                <a:solidFill>
                  <a:schemeClr val="accent3"/>
                </a:solidFill>
              </a:defRPr>
            </a:lvl9pPr>
          </a:lstStyle>
          <a:p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249318" y="6489341"/>
            <a:ext cx="1162800" cy="11819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000">
                <a:solidFill>
                  <a:schemeClr val="accent3"/>
                </a:solidFill>
              </a:defRPr>
            </a:lvl1pPr>
            <a:lvl2pPr marL="0" indent="0">
              <a:defRPr sz="1000">
                <a:solidFill>
                  <a:schemeClr val="accent3"/>
                </a:solidFill>
              </a:defRPr>
            </a:lvl2pPr>
            <a:lvl3pPr marL="0" indent="0">
              <a:defRPr sz="1000">
                <a:solidFill>
                  <a:schemeClr val="accent3"/>
                </a:solidFill>
              </a:defRPr>
            </a:lvl3pPr>
            <a:lvl4pPr marL="0" indent="0">
              <a:defRPr sz="1000">
                <a:solidFill>
                  <a:schemeClr val="accent3"/>
                </a:solidFill>
              </a:defRPr>
            </a:lvl4pPr>
            <a:lvl5pPr marL="0" indent="0">
              <a:defRPr sz="1000">
                <a:solidFill>
                  <a:schemeClr val="accent3"/>
                </a:solidFill>
              </a:defRPr>
            </a:lvl5pPr>
            <a:lvl6pPr marL="0" indent="0">
              <a:defRPr sz="1000">
                <a:solidFill>
                  <a:schemeClr val="accent3"/>
                </a:solidFill>
              </a:defRPr>
            </a:lvl6pPr>
            <a:lvl7pPr marL="0" indent="0">
              <a:defRPr sz="1000">
                <a:solidFill>
                  <a:schemeClr val="accent3"/>
                </a:solidFill>
              </a:defRPr>
            </a:lvl7pPr>
            <a:lvl8pPr marL="0" indent="0">
              <a:defRPr sz="1000">
                <a:solidFill>
                  <a:schemeClr val="accent3"/>
                </a:solidFill>
              </a:defRPr>
            </a:lvl8pPr>
            <a:lvl9pPr marL="0" indent="0">
              <a:defRPr sz="1000">
                <a:solidFill>
                  <a:schemeClr val="accent3"/>
                </a:solidFill>
              </a:defRPr>
            </a:lvl9pPr>
          </a:lstStyle>
          <a:p>
            <a:fld id="{B2016A11-4950-4F3F-938B-45DEE5F72969}" type="datetime4">
              <a:rPr lang="en-US" smtClean="0"/>
              <a:pPr/>
              <a:t>December 14, 2020</a:t>
            </a:fld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47611" y="1931194"/>
            <a:ext cx="8643600" cy="39821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714663" y="6488733"/>
            <a:ext cx="676800" cy="1188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000">
                <a:solidFill>
                  <a:schemeClr val="accent3"/>
                </a:solidFill>
              </a:defRPr>
            </a:lvl1pPr>
            <a:lvl2pPr marL="0" indent="0">
              <a:defRPr sz="1000">
                <a:solidFill>
                  <a:schemeClr val="accent3"/>
                </a:solidFill>
              </a:defRPr>
            </a:lvl2pPr>
            <a:lvl3pPr marL="0" indent="0">
              <a:defRPr sz="1000">
                <a:solidFill>
                  <a:schemeClr val="accent3"/>
                </a:solidFill>
              </a:defRPr>
            </a:lvl3pPr>
            <a:lvl4pPr marL="0" indent="0">
              <a:defRPr sz="1000">
                <a:solidFill>
                  <a:schemeClr val="accent3"/>
                </a:solidFill>
              </a:defRPr>
            </a:lvl4pPr>
            <a:lvl5pPr marL="0" indent="0">
              <a:defRPr sz="1000">
                <a:solidFill>
                  <a:schemeClr val="accent3"/>
                </a:solidFill>
              </a:defRPr>
            </a:lvl5pPr>
            <a:lvl6pPr marL="0" indent="0">
              <a:defRPr sz="1000">
                <a:solidFill>
                  <a:schemeClr val="accent3"/>
                </a:solidFill>
              </a:defRPr>
            </a:lvl6pPr>
            <a:lvl7pPr marL="0" indent="0">
              <a:defRPr sz="1000">
                <a:solidFill>
                  <a:schemeClr val="accent3"/>
                </a:solidFill>
              </a:defRPr>
            </a:lvl7pPr>
            <a:lvl8pPr marL="0" indent="0">
              <a:defRPr sz="1000">
                <a:solidFill>
                  <a:schemeClr val="accent3"/>
                </a:solidFill>
              </a:defRPr>
            </a:lvl8pPr>
            <a:lvl9pPr marL="0" indent="0">
              <a:defRPr sz="1000">
                <a:solidFill>
                  <a:schemeClr val="accent3"/>
                </a:solidFill>
              </a:defRPr>
            </a:lvl9pPr>
          </a:lstStyle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35" name="Straight Connector 34"/>
          <p:cNvCxnSpPr/>
          <p:nvPr/>
        </p:nvCxnSpPr>
        <p:spPr bwMode="gray">
          <a:xfrm>
            <a:off x="251727" y="6094413"/>
            <a:ext cx="8640000" cy="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73" name="Straight Connector 72"/>
          <p:cNvCxnSpPr/>
          <p:nvPr/>
        </p:nvCxnSpPr>
        <p:spPr bwMode="gray">
          <a:xfrm>
            <a:off x="1609403" y="6472544"/>
            <a:ext cx="0" cy="132461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7" name="Rectangle 6"/>
          <p:cNvSpPr/>
          <p:nvPr userDrawn="1"/>
        </p:nvSpPr>
        <p:spPr bwMode="gray">
          <a:xfrm>
            <a:off x="155501" y="426352"/>
            <a:ext cx="413300" cy="1583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de-DE" sz="2400" b="1" dirty="0">
                <a:solidFill>
                  <a:schemeClr val="bg2"/>
                </a:solidFill>
              </a:rPr>
              <a:t>—</a:t>
            </a:r>
            <a:endParaRPr lang="en-US" sz="2400" b="1" dirty="0">
              <a:solidFill>
                <a:schemeClr val="bg2"/>
              </a:solidFill>
            </a:endParaRPr>
          </a:p>
        </p:txBody>
      </p:sp>
      <p:grpSp>
        <p:nvGrpSpPr>
          <p:cNvPr id="19" name="Group 67"/>
          <p:cNvGrpSpPr/>
          <p:nvPr userDrawn="1"/>
        </p:nvGrpSpPr>
        <p:grpSpPr bwMode="gray">
          <a:xfrm>
            <a:off x="250747" y="6327549"/>
            <a:ext cx="337946" cy="88364"/>
            <a:chOff x="61913" y="5218113"/>
            <a:chExt cx="3138487" cy="820737"/>
          </a:xfrm>
          <a:solidFill>
            <a:schemeClr val="accent3"/>
          </a:solidFill>
        </p:grpSpPr>
        <p:sp>
          <p:nvSpPr>
            <p:cNvPr id="20" name="Freeform 16"/>
            <p:cNvSpPr>
              <a:spLocks noEditPoints="1"/>
            </p:cNvSpPr>
            <p:nvPr userDrawn="1"/>
          </p:nvSpPr>
          <p:spPr bwMode="gray">
            <a:xfrm>
              <a:off x="61913" y="5218113"/>
              <a:ext cx="828675" cy="820737"/>
            </a:xfrm>
            <a:custGeom>
              <a:avLst/>
              <a:gdLst>
                <a:gd name="T0" fmla="*/ 111 w 221"/>
                <a:gd name="T1" fmla="*/ 219 h 219"/>
                <a:gd name="T2" fmla="*/ 53 w 221"/>
                <a:gd name="T3" fmla="*/ 203 h 219"/>
                <a:gd name="T4" fmla="*/ 14 w 221"/>
                <a:gd name="T5" fmla="*/ 163 h 219"/>
                <a:gd name="T6" fmla="*/ 0 w 221"/>
                <a:gd name="T7" fmla="*/ 109 h 219"/>
                <a:gd name="T8" fmla="*/ 15 w 221"/>
                <a:gd name="T9" fmla="*/ 53 h 219"/>
                <a:gd name="T10" fmla="*/ 56 w 221"/>
                <a:gd name="T11" fmla="*/ 14 h 219"/>
                <a:gd name="T12" fmla="*/ 111 w 221"/>
                <a:gd name="T13" fmla="*/ 0 h 219"/>
                <a:gd name="T14" fmla="*/ 168 w 221"/>
                <a:gd name="T15" fmla="*/ 15 h 219"/>
                <a:gd name="T16" fmla="*/ 207 w 221"/>
                <a:gd name="T17" fmla="*/ 55 h 219"/>
                <a:gd name="T18" fmla="*/ 221 w 221"/>
                <a:gd name="T19" fmla="*/ 109 h 219"/>
                <a:gd name="T20" fmla="*/ 206 w 221"/>
                <a:gd name="T21" fmla="*/ 166 h 219"/>
                <a:gd name="T22" fmla="*/ 165 w 221"/>
                <a:gd name="T23" fmla="*/ 205 h 219"/>
                <a:gd name="T24" fmla="*/ 111 w 221"/>
                <a:gd name="T25" fmla="*/ 219 h 219"/>
                <a:gd name="T26" fmla="*/ 111 w 221"/>
                <a:gd name="T27" fmla="*/ 190 h 219"/>
                <a:gd name="T28" fmla="*/ 153 w 221"/>
                <a:gd name="T29" fmla="*/ 180 h 219"/>
                <a:gd name="T30" fmla="*/ 181 w 221"/>
                <a:gd name="T31" fmla="*/ 151 h 219"/>
                <a:gd name="T32" fmla="*/ 191 w 221"/>
                <a:gd name="T33" fmla="*/ 109 h 219"/>
                <a:gd name="T34" fmla="*/ 180 w 221"/>
                <a:gd name="T35" fmla="*/ 67 h 219"/>
                <a:gd name="T36" fmla="*/ 151 w 221"/>
                <a:gd name="T37" fmla="*/ 38 h 219"/>
                <a:gd name="T38" fmla="*/ 111 w 221"/>
                <a:gd name="T39" fmla="*/ 28 h 219"/>
                <a:gd name="T40" fmla="*/ 68 w 221"/>
                <a:gd name="T41" fmla="*/ 39 h 219"/>
                <a:gd name="T42" fmla="*/ 40 w 221"/>
                <a:gd name="T43" fmla="*/ 68 h 219"/>
                <a:gd name="T44" fmla="*/ 31 w 221"/>
                <a:gd name="T45" fmla="*/ 109 h 219"/>
                <a:gd name="T46" fmla="*/ 41 w 221"/>
                <a:gd name="T47" fmla="*/ 152 h 219"/>
                <a:gd name="T48" fmla="*/ 70 w 221"/>
                <a:gd name="T49" fmla="*/ 180 h 219"/>
                <a:gd name="T50" fmla="*/ 111 w 221"/>
                <a:gd name="T51" fmla="*/ 190 h 219"/>
                <a:gd name="T52" fmla="*/ 115 w 221"/>
                <a:gd name="T53" fmla="*/ 50 h 219"/>
                <a:gd name="T54" fmla="*/ 139 w 221"/>
                <a:gd name="T55" fmla="*/ 54 h 219"/>
                <a:gd name="T56" fmla="*/ 156 w 221"/>
                <a:gd name="T57" fmla="*/ 63 h 219"/>
                <a:gd name="T58" fmla="*/ 145 w 221"/>
                <a:gd name="T59" fmla="*/ 85 h 219"/>
                <a:gd name="T60" fmla="*/ 117 w 221"/>
                <a:gd name="T61" fmla="*/ 76 h 219"/>
                <a:gd name="T62" fmla="*/ 93 w 221"/>
                <a:gd name="T63" fmla="*/ 85 h 219"/>
                <a:gd name="T64" fmla="*/ 84 w 221"/>
                <a:gd name="T65" fmla="*/ 110 h 219"/>
                <a:gd name="T66" fmla="*/ 93 w 221"/>
                <a:gd name="T67" fmla="*/ 134 h 219"/>
                <a:gd name="T68" fmla="*/ 117 w 221"/>
                <a:gd name="T69" fmla="*/ 143 h 219"/>
                <a:gd name="T70" fmla="*/ 146 w 221"/>
                <a:gd name="T71" fmla="*/ 132 h 219"/>
                <a:gd name="T72" fmla="*/ 158 w 221"/>
                <a:gd name="T73" fmla="*/ 153 h 219"/>
                <a:gd name="T74" fmla="*/ 140 w 221"/>
                <a:gd name="T75" fmla="*/ 165 h 219"/>
                <a:gd name="T76" fmla="*/ 115 w 221"/>
                <a:gd name="T77" fmla="*/ 169 h 219"/>
                <a:gd name="T78" fmla="*/ 71 w 221"/>
                <a:gd name="T79" fmla="*/ 153 h 219"/>
                <a:gd name="T80" fmla="*/ 54 w 221"/>
                <a:gd name="T81" fmla="*/ 111 h 219"/>
                <a:gd name="T82" fmla="*/ 71 w 221"/>
                <a:gd name="T83" fmla="*/ 67 h 219"/>
                <a:gd name="T84" fmla="*/ 115 w 221"/>
                <a:gd name="T85" fmla="*/ 5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21" h="219">
                  <a:moveTo>
                    <a:pt x="111" y="219"/>
                  </a:moveTo>
                  <a:cubicBezTo>
                    <a:pt x="89" y="219"/>
                    <a:pt x="70" y="214"/>
                    <a:pt x="53" y="203"/>
                  </a:cubicBezTo>
                  <a:cubicBezTo>
                    <a:pt x="36" y="193"/>
                    <a:pt x="23" y="180"/>
                    <a:pt x="14" y="163"/>
                  </a:cubicBezTo>
                  <a:cubicBezTo>
                    <a:pt x="4" y="147"/>
                    <a:pt x="0" y="129"/>
                    <a:pt x="0" y="109"/>
                  </a:cubicBezTo>
                  <a:cubicBezTo>
                    <a:pt x="0" y="88"/>
                    <a:pt x="5" y="70"/>
                    <a:pt x="15" y="53"/>
                  </a:cubicBezTo>
                  <a:cubicBezTo>
                    <a:pt x="25" y="36"/>
                    <a:pt x="39" y="23"/>
                    <a:pt x="56" y="14"/>
                  </a:cubicBezTo>
                  <a:cubicBezTo>
                    <a:pt x="73" y="5"/>
                    <a:pt x="91" y="0"/>
                    <a:pt x="111" y="0"/>
                  </a:cubicBezTo>
                  <a:cubicBezTo>
                    <a:pt x="132" y="0"/>
                    <a:pt x="151" y="5"/>
                    <a:pt x="168" y="15"/>
                  </a:cubicBezTo>
                  <a:cubicBezTo>
                    <a:pt x="185" y="26"/>
                    <a:pt x="198" y="39"/>
                    <a:pt x="207" y="55"/>
                  </a:cubicBezTo>
                  <a:cubicBezTo>
                    <a:pt x="217" y="72"/>
                    <a:pt x="221" y="90"/>
                    <a:pt x="221" y="109"/>
                  </a:cubicBezTo>
                  <a:cubicBezTo>
                    <a:pt x="221" y="130"/>
                    <a:pt x="216" y="149"/>
                    <a:pt x="206" y="166"/>
                  </a:cubicBezTo>
                  <a:cubicBezTo>
                    <a:pt x="196" y="183"/>
                    <a:pt x="182" y="196"/>
                    <a:pt x="165" y="205"/>
                  </a:cubicBezTo>
                  <a:cubicBezTo>
                    <a:pt x="149" y="214"/>
                    <a:pt x="130" y="219"/>
                    <a:pt x="111" y="219"/>
                  </a:cubicBezTo>
                  <a:close/>
                  <a:moveTo>
                    <a:pt x="111" y="190"/>
                  </a:moveTo>
                  <a:cubicBezTo>
                    <a:pt x="127" y="190"/>
                    <a:pt x="141" y="187"/>
                    <a:pt x="153" y="180"/>
                  </a:cubicBezTo>
                  <a:cubicBezTo>
                    <a:pt x="165" y="173"/>
                    <a:pt x="174" y="163"/>
                    <a:pt x="181" y="151"/>
                  </a:cubicBezTo>
                  <a:cubicBezTo>
                    <a:pt x="187" y="139"/>
                    <a:pt x="191" y="125"/>
                    <a:pt x="191" y="109"/>
                  </a:cubicBezTo>
                  <a:cubicBezTo>
                    <a:pt x="191" y="93"/>
                    <a:pt x="187" y="79"/>
                    <a:pt x="180" y="67"/>
                  </a:cubicBezTo>
                  <a:cubicBezTo>
                    <a:pt x="173" y="55"/>
                    <a:pt x="163" y="45"/>
                    <a:pt x="151" y="38"/>
                  </a:cubicBezTo>
                  <a:cubicBezTo>
                    <a:pt x="139" y="32"/>
                    <a:pt x="126" y="28"/>
                    <a:pt x="111" y="28"/>
                  </a:cubicBezTo>
                  <a:cubicBezTo>
                    <a:pt x="95" y="28"/>
                    <a:pt x="81" y="32"/>
                    <a:pt x="68" y="39"/>
                  </a:cubicBezTo>
                  <a:cubicBezTo>
                    <a:pt x="56" y="46"/>
                    <a:pt x="47" y="56"/>
                    <a:pt x="40" y="68"/>
                  </a:cubicBezTo>
                  <a:cubicBezTo>
                    <a:pt x="34" y="80"/>
                    <a:pt x="31" y="94"/>
                    <a:pt x="31" y="109"/>
                  </a:cubicBezTo>
                  <a:cubicBezTo>
                    <a:pt x="31" y="126"/>
                    <a:pt x="34" y="140"/>
                    <a:pt x="41" y="152"/>
                  </a:cubicBezTo>
                  <a:cubicBezTo>
                    <a:pt x="48" y="164"/>
                    <a:pt x="58" y="174"/>
                    <a:pt x="70" y="180"/>
                  </a:cubicBezTo>
                  <a:cubicBezTo>
                    <a:pt x="82" y="187"/>
                    <a:pt x="95" y="190"/>
                    <a:pt x="111" y="190"/>
                  </a:cubicBezTo>
                  <a:close/>
                  <a:moveTo>
                    <a:pt x="115" y="50"/>
                  </a:moveTo>
                  <a:cubicBezTo>
                    <a:pt x="124" y="50"/>
                    <a:pt x="131" y="51"/>
                    <a:pt x="139" y="54"/>
                  </a:cubicBezTo>
                  <a:cubicBezTo>
                    <a:pt x="146" y="56"/>
                    <a:pt x="152" y="59"/>
                    <a:pt x="156" y="63"/>
                  </a:cubicBezTo>
                  <a:cubicBezTo>
                    <a:pt x="145" y="85"/>
                    <a:pt x="145" y="85"/>
                    <a:pt x="145" y="85"/>
                  </a:cubicBezTo>
                  <a:cubicBezTo>
                    <a:pt x="137" y="79"/>
                    <a:pt x="128" y="76"/>
                    <a:pt x="117" y="76"/>
                  </a:cubicBezTo>
                  <a:cubicBezTo>
                    <a:pt x="107" y="76"/>
                    <a:pt x="99" y="79"/>
                    <a:pt x="93" y="85"/>
                  </a:cubicBezTo>
                  <a:cubicBezTo>
                    <a:pt x="87" y="91"/>
                    <a:pt x="84" y="100"/>
                    <a:pt x="84" y="110"/>
                  </a:cubicBezTo>
                  <a:cubicBezTo>
                    <a:pt x="84" y="120"/>
                    <a:pt x="87" y="128"/>
                    <a:pt x="93" y="134"/>
                  </a:cubicBezTo>
                  <a:cubicBezTo>
                    <a:pt x="99" y="140"/>
                    <a:pt x="107" y="143"/>
                    <a:pt x="117" y="143"/>
                  </a:cubicBezTo>
                  <a:cubicBezTo>
                    <a:pt x="129" y="143"/>
                    <a:pt x="138" y="139"/>
                    <a:pt x="146" y="132"/>
                  </a:cubicBezTo>
                  <a:cubicBezTo>
                    <a:pt x="158" y="153"/>
                    <a:pt x="158" y="153"/>
                    <a:pt x="158" y="153"/>
                  </a:cubicBezTo>
                  <a:cubicBezTo>
                    <a:pt x="153" y="158"/>
                    <a:pt x="147" y="162"/>
                    <a:pt x="140" y="165"/>
                  </a:cubicBezTo>
                  <a:cubicBezTo>
                    <a:pt x="132" y="168"/>
                    <a:pt x="124" y="169"/>
                    <a:pt x="115" y="169"/>
                  </a:cubicBezTo>
                  <a:cubicBezTo>
                    <a:pt x="97" y="169"/>
                    <a:pt x="82" y="164"/>
                    <a:pt x="71" y="153"/>
                  </a:cubicBezTo>
                  <a:cubicBezTo>
                    <a:pt x="60" y="142"/>
                    <a:pt x="54" y="128"/>
                    <a:pt x="54" y="111"/>
                  </a:cubicBezTo>
                  <a:cubicBezTo>
                    <a:pt x="54" y="93"/>
                    <a:pt x="60" y="78"/>
                    <a:pt x="71" y="67"/>
                  </a:cubicBezTo>
                  <a:cubicBezTo>
                    <a:pt x="82" y="56"/>
                    <a:pt x="97" y="50"/>
                    <a:pt x="115" y="5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21" name="Freeform 17"/>
            <p:cNvSpPr>
              <a:spLocks noEditPoints="1"/>
            </p:cNvSpPr>
            <p:nvPr userDrawn="1"/>
          </p:nvSpPr>
          <p:spPr bwMode="gray">
            <a:xfrm>
              <a:off x="957263" y="5237163"/>
              <a:ext cx="773112" cy="782637"/>
            </a:xfrm>
            <a:custGeom>
              <a:avLst/>
              <a:gdLst>
                <a:gd name="T0" fmla="*/ 305 w 487"/>
                <a:gd name="T1" fmla="*/ 0 h 493"/>
                <a:gd name="T2" fmla="*/ 487 w 487"/>
                <a:gd name="T3" fmla="*/ 493 h 493"/>
                <a:gd name="T4" fmla="*/ 369 w 487"/>
                <a:gd name="T5" fmla="*/ 493 h 493"/>
                <a:gd name="T6" fmla="*/ 336 w 487"/>
                <a:gd name="T7" fmla="*/ 390 h 493"/>
                <a:gd name="T8" fmla="*/ 151 w 487"/>
                <a:gd name="T9" fmla="*/ 390 h 493"/>
                <a:gd name="T10" fmla="*/ 118 w 487"/>
                <a:gd name="T11" fmla="*/ 493 h 493"/>
                <a:gd name="T12" fmla="*/ 0 w 487"/>
                <a:gd name="T13" fmla="*/ 493 h 493"/>
                <a:gd name="T14" fmla="*/ 184 w 487"/>
                <a:gd name="T15" fmla="*/ 0 h 493"/>
                <a:gd name="T16" fmla="*/ 305 w 487"/>
                <a:gd name="T17" fmla="*/ 0 h 493"/>
                <a:gd name="T18" fmla="*/ 180 w 487"/>
                <a:gd name="T19" fmla="*/ 300 h 493"/>
                <a:gd name="T20" fmla="*/ 307 w 487"/>
                <a:gd name="T21" fmla="*/ 300 h 493"/>
                <a:gd name="T22" fmla="*/ 243 w 487"/>
                <a:gd name="T23" fmla="*/ 104 h 493"/>
                <a:gd name="T24" fmla="*/ 180 w 487"/>
                <a:gd name="T25" fmla="*/ 300 h 4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7" h="493">
                  <a:moveTo>
                    <a:pt x="305" y="0"/>
                  </a:moveTo>
                  <a:lnTo>
                    <a:pt x="487" y="493"/>
                  </a:lnTo>
                  <a:lnTo>
                    <a:pt x="369" y="493"/>
                  </a:lnTo>
                  <a:lnTo>
                    <a:pt x="336" y="390"/>
                  </a:lnTo>
                  <a:lnTo>
                    <a:pt x="151" y="390"/>
                  </a:lnTo>
                  <a:lnTo>
                    <a:pt x="118" y="493"/>
                  </a:lnTo>
                  <a:lnTo>
                    <a:pt x="0" y="493"/>
                  </a:lnTo>
                  <a:lnTo>
                    <a:pt x="184" y="0"/>
                  </a:lnTo>
                  <a:lnTo>
                    <a:pt x="305" y="0"/>
                  </a:lnTo>
                  <a:close/>
                  <a:moveTo>
                    <a:pt x="180" y="300"/>
                  </a:moveTo>
                  <a:lnTo>
                    <a:pt x="307" y="300"/>
                  </a:lnTo>
                  <a:lnTo>
                    <a:pt x="243" y="104"/>
                  </a:lnTo>
                  <a:lnTo>
                    <a:pt x="180" y="3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22" name="Freeform 18"/>
            <p:cNvSpPr>
              <a:spLocks noEditPoints="1"/>
            </p:cNvSpPr>
            <p:nvPr userDrawn="1"/>
          </p:nvSpPr>
          <p:spPr bwMode="gray">
            <a:xfrm>
              <a:off x="1819275" y="5237163"/>
              <a:ext cx="622300" cy="782637"/>
            </a:xfrm>
            <a:custGeom>
              <a:avLst/>
              <a:gdLst>
                <a:gd name="T0" fmla="*/ 0 w 166"/>
                <a:gd name="T1" fmla="*/ 0 h 209"/>
                <a:gd name="T2" fmla="*/ 82 w 166"/>
                <a:gd name="T3" fmla="*/ 0 h 209"/>
                <a:gd name="T4" fmla="*/ 132 w 166"/>
                <a:gd name="T5" fmla="*/ 15 h 209"/>
                <a:gd name="T6" fmla="*/ 150 w 166"/>
                <a:gd name="T7" fmla="*/ 53 h 209"/>
                <a:gd name="T8" fmla="*/ 128 w 166"/>
                <a:gd name="T9" fmla="*/ 94 h 209"/>
                <a:gd name="T10" fmla="*/ 166 w 166"/>
                <a:gd name="T11" fmla="*/ 146 h 209"/>
                <a:gd name="T12" fmla="*/ 146 w 166"/>
                <a:gd name="T13" fmla="*/ 192 h 209"/>
                <a:gd name="T14" fmla="*/ 86 w 166"/>
                <a:gd name="T15" fmla="*/ 209 h 209"/>
                <a:gd name="T16" fmla="*/ 0 w 166"/>
                <a:gd name="T17" fmla="*/ 209 h 209"/>
                <a:gd name="T18" fmla="*/ 0 w 166"/>
                <a:gd name="T19" fmla="*/ 0 h 209"/>
                <a:gd name="T20" fmla="*/ 78 w 166"/>
                <a:gd name="T21" fmla="*/ 81 h 209"/>
                <a:gd name="T22" fmla="*/ 99 w 166"/>
                <a:gd name="T23" fmla="*/ 75 h 209"/>
                <a:gd name="T24" fmla="*/ 106 w 166"/>
                <a:gd name="T25" fmla="*/ 59 h 209"/>
                <a:gd name="T26" fmla="*/ 99 w 166"/>
                <a:gd name="T27" fmla="*/ 42 h 209"/>
                <a:gd name="T28" fmla="*/ 79 w 166"/>
                <a:gd name="T29" fmla="*/ 37 h 209"/>
                <a:gd name="T30" fmla="*/ 46 w 166"/>
                <a:gd name="T31" fmla="*/ 37 h 209"/>
                <a:gd name="T32" fmla="*/ 46 w 166"/>
                <a:gd name="T33" fmla="*/ 81 h 209"/>
                <a:gd name="T34" fmla="*/ 78 w 166"/>
                <a:gd name="T35" fmla="*/ 81 h 209"/>
                <a:gd name="T36" fmla="*/ 84 w 166"/>
                <a:gd name="T37" fmla="*/ 172 h 209"/>
                <a:gd name="T38" fmla="*/ 111 w 166"/>
                <a:gd name="T39" fmla="*/ 165 h 209"/>
                <a:gd name="T40" fmla="*/ 120 w 166"/>
                <a:gd name="T41" fmla="*/ 145 h 209"/>
                <a:gd name="T42" fmla="*/ 111 w 166"/>
                <a:gd name="T43" fmla="*/ 124 h 209"/>
                <a:gd name="T44" fmla="*/ 85 w 166"/>
                <a:gd name="T45" fmla="*/ 117 h 209"/>
                <a:gd name="T46" fmla="*/ 46 w 166"/>
                <a:gd name="T47" fmla="*/ 117 h 209"/>
                <a:gd name="T48" fmla="*/ 46 w 166"/>
                <a:gd name="T49" fmla="*/ 172 h 209"/>
                <a:gd name="T50" fmla="*/ 84 w 166"/>
                <a:gd name="T51" fmla="*/ 172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66" h="209">
                  <a:moveTo>
                    <a:pt x="0" y="0"/>
                  </a:moveTo>
                  <a:cubicBezTo>
                    <a:pt x="82" y="0"/>
                    <a:pt x="82" y="0"/>
                    <a:pt x="82" y="0"/>
                  </a:cubicBezTo>
                  <a:cubicBezTo>
                    <a:pt x="103" y="0"/>
                    <a:pt x="119" y="5"/>
                    <a:pt x="132" y="15"/>
                  </a:cubicBezTo>
                  <a:cubicBezTo>
                    <a:pt x="144" y="24"/>
                    <a:pt x="150" y="37"/>
                    <a:pt x="150" y="53"/>
                  </a:cubicBezTo>
                  <a:cubicBezTo>
                    <a:pt x="150" y="71"/>
                    <a:pt x="143" y="84"/>
                    <a:pt x="128" y="94"/>
                  </a:cubicBezTo>
                  <a:cubicBezTo>
                    <a:pt x="154" y="103"/>
                    <a:pt x="166" y="120"/>
                    <a:pt x="166" y="146"/>
                  </a:cubicBezTo>
                  <a:cubicBezTo>
                    <a:pt x="166" y="166"/>
                    <a:pt x="160" y="182"/>
                    <a:pt x="146" y="192"/>
                  </a:cubicBezTo>
                  <a:cubicBezTo>
                    <a:pt x="132" y="203"/>
                    <a:pt x="112" y="209"/>
                    <a:pt x="86" y="209"/>
                  </a:cubicBezTo>
                  <a:cubicBezTo>
                    <a:pt x="0" y="209"/>
                    <a:pt x="0" y="209"/>
                    <a:pt x="0" y="209"/>
                  </a:cubicBezTo>
                  <a:lnTo>
                    <a:pt x="0" y="0"/>
                  </a:lnTo>
                  <a:close/>
                  <a:moveTo>
                    <a:pt x="78" y="81"/>
                  </a:moveTo>
                  <a:cubicBezTo>
                    <a:pt x="87" y="81"/>
                    <a:pt x="94" y="79"/>
                    <a:pt x="99" y="75"/>
                  </a:cubicBezTo>
                  <a:cubicBezTo>
                    <a:pt x="104" y="71"/>
                    <a:pt x="106" y="66"/>
                    <a:pt x="106" y="59"/>
                  </a:cubicBezTo>
                  <a:cubicBezTo>
                    <a:pt x="106" y="52"/>
                    <a:pt x="104" y="46"/>
                    <a:pt x="99" y="42"/>
                  </a:cubicBezTo>
                  <a:cubicBezTo>
                    <a:pt x="94" y="38"/>
                    <a:pt x="87" y="37"/>
                    <a:pt x="79" y="37"/>
                  </a:cubicBezTo>
                  <a:cubicBezTo>
                    <a:pt x="46" y="37"/>
                    <a:pt x="46" y="37"/>
                    <a:pt x="46" y="37"/>
                  </a:cubicBezTo>
                  <a:cubicBezTo>
                    <a:pt x="46" y="81"/>
                    <a:pt x="46" y="81"/>
                    <a:pt x="46" y="81"/>
                  </a:cubicBezTo>
                  <a:lnTo>
                    <a:pt x="78" y="81"/>
                  </a:lnTo>
                  <a:close/>
                  <a:moveTo>
                    <a:pt x="84" y="172"/>
                  </a:moveTo>
                  <a:cubicBezTo>
                    <a:pt x="96" y="172"/>
                    <a:pt x="105" y="169"/>
                    <a:pt x="111" y="165"/>
                  </a:cubicBezTo>
                  <a:cubicBezTo>
                    <a:pt x="117" y="160"/>
                    <a:pt x="120" y="154"/>
                    <a:pt x="120" y="145"/>
                  </a:cubicBezTo>
                  <a:cubicBezTo>
                    <a:pt x="120" y="136"/>
                    <a:pt x="117" y="129"/>
                    <a:pt x="111" y="124"/>
                  </a:cubicBezTo>
                  <a:cubicBezTo>
                    <a:pt x="105" y="119"/>
                    <a:pt x="96" y="117"/>
                    <a:pt x="85" y="117"/>
                  </a:cubicBezTo>
                  <a:cubicBezTo>
                    <a:pt x="46" y="117"/>
                    <a:pt x="46" y="117"/>
                    <a:pt x="46" y="117"/>
                  </a:cubicBezTo>
                  <a:cubicBezTo>
                    <a:pt x="46" y="172"/>
                    <a:pt x="46" y="172"/>
                    <a:pt x="46" y="172"/>
                  </a:cubicBezTo>
                  <a:lnTo>
                    <a:pt x="84" y="1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23" name="Freeform 19"/>
            <p:cNvSpPr>
              <a:spLocks noEditPoints="1"/>
            </p:cNvSpPr>
            <p:nvPr userDrawn="1"/>
          </p:nvSpPr>
          <p:spPr bwMode="gray">
            <a:xfrm>
              <a:off x="2573338" y="5237163"/>
              <a:ext cx="627062" cy="782637"/>
            </a:xfrm>
            <a:custGeom>
              <a:avLst/>
              <a:gdLst>
                <a:gd name="T0" fmla="*/ 0 w 167"/>
                <a:gd name="T1" fmla="*/ 0 h 209"/>
                <a:gd name="T2" fmla="*/ 82 w 167"/>
                <a:gd name="T3" fmla="*/ 0 h 209"/>
                <a:gd name="T4" fmla="*/ 132 w 167"/>
                <a:gd name="T5" fmla="*/ 15 h 209"/>
                <a:gd name="T6" fmla="*/ 150 w 167"/>
                <a:gd name="T7" fmla="*/ 53 h 209"/>
                <a:gd name="T8" fmla="*/ 128 w 167"/>
                <a:gd name="T9" fmla="*/ 94 h 209"/>
                <a:gd name="T10" fmla="*/ 167 w 167"/>
                <a:gd name="T11" fmla="*/ 146 h 209"/>
                <a:gd name="T12" fmla="*/ 146 w 167"/>
                <a:gd name="T13" fmla="*/ 192 h 209"/>
                <a:gd name="T14" fmla="*/ 86 w 167"/>
                <a:gd name="T15" fmla="*/ 209 h 209"/>
                <a:gd name="T16" fmla="*/ 0 w 167"/>
                <a:gd name="T17" fmla="*/ 209 h 209"/>
                <a:gd name="T18" fmla="*/ 0 w 167"/>
                <a:gd name="T19" fmla="*/ 0 h 209"/>
                <a:gd name="T20" fmla="*/ 79 w 167"/>
                <a:gd name="T21" fmla="*/ 81 h 209"/>
                <a:gd name="T22" fmla="*/ 99 w 167"/>
                <a:gd name="T23" fmla="*/ 75 h 209"/>
                <a:gd name="T24" fmla="*/ 106 w 167"/>
                <a:gd name="T25" fmla="*/ 59 h 209"/>
                <a:gd name="T26" fmla="*/ 99 w 167"/>
                <a:gd name="T27" fmla="*/ 42 h 209"/>
                <a:gd name="T28" fmla="*/ 79 w 167"/>
                <a:gd name="T29" fmla="*/ 37 h 209"/>
                <a:gd name="T30" fmla="*/ 46 w 167"/>
                <a:gd name="T31" fmla="*/ 37 h 209"/>
                <a:gd name="T32" fmla="*/ 46 w 167"/>
                <a:gd name="T33" fmla="*/ 81 h 209"/>
                <a:gd name="T34" fmla="*/ 79 w 167"/>
                <a:gd name="T35" fmla="*/ 81 h 209"/>
                <a:gd name="T36" fmla="*/ 84 w 167"/>
                <a:gd name="T37" fmla="*/ 172 h 209"/>
                <a:gd name="T38" fmla="*/ 111 w 167"/>
                <a:gd name="T39" fmla="*/ 165 h 209"/>
                <a:gd name="T40" fmla="*/ 121 w 167"/>
                <a:gd name="T41" fmla="*/ 145 h 209"/>
                <a:gd name="T42" fmla="*/ 111 w 167"/>
                <a:gd name="T43" fmla="*/ 124 h 209"/>
                <a:gd name="T44" fmla="*/ 85 w 167"/>
                <a:gd name="T45" fmla="*/ 117 h 209"/>
                <a:gd name="T46" fmla="*/ 46 w 167"/>
                <a:gd name="T47" fmla="*/ 117 h 209"/>
                <a:gd name="T48" fmla="*/ 46 w 167"/>
                <a:gd name="T49" fmla="*/ 172 h 209"/>
                <a:gd name="T50" fmla="*/ 84 w 167"/>
                <a:gd name="T51" fmla="*/ 172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67" h="209">
                  <a:moveTo>
                    <a:pt x="0" y="0"/>
                  </a:moveTo>
                  <a:cubicBezTo>
                    <a:pt x="82" y="0"/>
                    <a:pt x="82" y="0"/>
                    <a:pt x="82" y="0"/>
                  </a:cubicBezTo>
                  <a:cubicBezTo>
                    <a:pt x="103" y="0"/>
                    <a:pt x="120" y="5"/>
                    <a:pt x="132" y="15"/>
                  </a:cubicBezTo>
                  <a:cubicBezTo>
                    <a:pt x="144" y="24"/>
                    <a:pt x="150" y="37"/>
                    <a:pt x="150" y="53"/>
                  </a:cubicBezTo>
                  <a:cubicBezTo>
                    <a:pt x="150" y="71"/>
                    <a:pt x="143" y="84"/>
                    <a:pt x="128" y="94"/>
                  </a:cubicBezTo>
                  <a:cubicBezTo>
                    <a:pt x="154" y="103"/>
                    <a:pt x="167" y="120"/>
                    <a:pt x="167" y="146"/>
                  </a:cubicBezTo>
                  <a:cubicBezTo>
                    <a:pt x="167" y="166"/>
                    <a:pt x="160" y="182"/>
                    <a:pt x="146" y="192"/>
                  </a:cubicBezTo>
                  <a:cubicBezTo>
                    <a:pt x="132" y="203"/>
                    <a:pt x="112" y="209"/>
                    <a:pt x="86" y="209"/>
                  </a:cubicBezTo>
                  <a:cubicBezTo>
                    <a:pt x="0" y="209"/>
                    <a:pt x="0" y="209"/>
                    <a:pt x="0" y="209"/>
                  </a:cubicBezTo>
                  <a:lnTo>
                    <a:pt x="0" y="0"/>
                  </a:lnTo>
                  <a:close/>
                  <a:moveTo>
                    <a:pt x="79" y="81"/>
                  </a:moveTo>
                  <a:cubicBezTo>
                    <a:pt x="87" y="81"/>
                    <a:pt x="94" y="79"/>
                    <a:pt x="99" y="75"/>
                  </a:cubicBezTo>
                  <a:cubicBezTo>
                    <a:pt x="104" y="71"/>
                    <a:pt x="106" y="66"/>
                    <a:pt x="106" y="59"/>
                  </a:cubicBezTo>
                  <a:cubicBezTo>
                    <a:pt x="106" y="52"/>
                    <a:pt x="104" y="46"/>
                    <a:pt x="99" y="42"/>
                  </a:cubicBezTo>
                  <a:cubicBezTo>
                    <a:pt x="94" y="38"/>
                    <a:pt x="88" y="37"/>
                    <a:pt x="79" y="37"/>
                  </a:cubicBezTo>
                  <a:cubicBezTo>
                    <a:pt x="46" y="37"/>
                    <a:pt x="46" y="37"/>
                    <a:pt x="46" y="37"/>
                  </a:cubicBezTo>
                  <a:cubicBezTo>
                    <a:pt x="46" y="81"/>
                    <a:pt x="46" y="81"/>
                    <a:pt x="46" y="81"/>
                  </a:cubicBezTo>
                  <a:lnTo>
                    <a:pt x="79" y="81"/>
                  </a:lnTo>
                  <a:close/>
                  <a:moveTo>
                    <a:pt x="84" y="172"/>
                  </a:moveTo>
                  <a:cubicBezTo>
                    <a:pt x="96" y="172"/>
                    <a:pt x="105" y="169"/>
                    <a:pt x="111" y="165"/>
                  </a:cubicBezTo>
                  <a:cubicBezTo>
                    <a:pt x="118" y="160"/>
                    <a:pt x="121" y="154"/>
                    <a:pt x="121" y="145"/>
                  </a:cubicBezTo>
                  <a:cubicBezTo>
                    <a:pt x="121" y="136"/>
                    <a:pt x="117" y="129"/>
                    <a:pt x="111" y="124"/>
                  </a:cubicBezTo>
                  <a:cubicBezTo>
                    <a:pt x="105" y="119"/>
                    <a:pt x="96" y="117"/>
                    <a:pt x="85" y="117"/>
                  </a:cubicBezTo>
                  <a:cubicBezTo>
                    <a:pt x="46" y="117"/>
                    <a:pt x="46" y="117"/>
                    <a:pt x="46" y="117"/>
                  </a:cubicBezTo>
                  <a:cubicBezTo>
                    <a:pt x="46" y="172"/>
                    <a:pt x="46" y="172"/>
                    <a:pt x="46" y="172"/>
                  </a:cubicBezTo>
                  <a:lnTo>
                    <a:pt x="84" y="1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</p:grpSp>
      <p:pic>
        <p:nvPicPr>
          <p:cNvPr id="16" name="Picture 19"/>
          <p:cNvPicPr>
            <a:picLocks noChangeAspect="1" noChangeArrowheads="1"/>
          </p:cNvPicPr>
          <p:nvPr userDrawn="1"/>
        </p:nvPicPr>
        <p:blipFill>
          <a:blip r:embed="rId5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8382392" y="6393976"/>
            <a:ext cx="507600" cy="1946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424016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690" r:id="rId2"/>
    <p:sldLayoutId id="2147483655" r:id="rId3"/>
    <p:sldLayoutId id="2147483656" r:id="rId4"/>
    <p:sldLayoutId id="2147483657" r:id="rId5"/>
    <p:sldLayoutId id="2147483658" r:id="rId6"/>
    <p:sldLayoutId id="2147483653" r:id="rId7"/>
    <p:sldLayoutId id="2147483650" r:id="rId8"/>
    <p:sldLayoutId id="2147483691" r:id="rId9"/>
    <p:sldLayoutId id="2147483661" r:id="rId10"/>
    <p:sldLayoutId id="2147483696" r:id="rId11"/>
    <p:sldLayoutId id="2147483663" r:id="rId12"/>
    <p:sldLayoutId id="2147483662" r:id="rId13"/>
    <p:sldLayoutId id="2147483664" r:id="rId14"/>
    <p:sldLayoutId id="2147483692" r:id="rId15"/>
    <p:sldLayoutId id="2147483693" r:id="rId16"/>
    <p:sldLayoutId id="2147483665" r:id="rId17"/>
    <p:sldLayoutId id="2147483667" r:id="rId18"/>
    <p:sldLayoutId id="2147483668" r:id="rId19"/>
    <p:sldLayoutId id="2147483669" r:id="rId20"/>
    <p:sldLayoutId id="2147483670" r:id="rId21"/>
    <p:sldLayoutId id="2147483700" r:id="rId22"/>
    <p:sldLayoutId id="2147483659" r:id="rId23"/>
    <p:sldLayoutId id="2147483660" r:id="rId24"/>
    <p:sldLayoutId id="2147483694" r:id="rId25"/>
    <p:sldLayoutId id="2147483677" r:id="rId26"/>
    <p:sldLayoutId id="2147483679" r:id="rId27"/>
    <p:sldLayoutId id="2147483680" r:id="rId28"/>
    <p:sldLayoutId id="2147483666" r:id="rId29"/>
    <p:sldLayoutId id="2147483672" r:id="rId30"/>
    <p:sldLayoutId id="2147483673" r:id="rId31"/>
    <p:sldLayoutId id="2147483674" r:id="rId32"/>
    <p:sldLayoutId id="2147483675" r:id="rId33"/>
    <p:sldLayoutId id="2147483676" r:id="rId34"/>
    <p:sldLayoutId id="2147483701" r:id="rId35"/>
    <p:sldLayoutId id="2147483681" r:id="rId36"/>
    <p:sldLayoutId id="2147483682" r:id="rId37"/>
    <p:sldLayoutId id="2147483702" r:id="rId38"/>
    <p:sldLayoutId id="2147483703" r:id="rId39"/>
    <p:sldLayoutId id="2147483699" r:id="rId40"/>
    <p:sldLayoutId id="2147483695" r:id="rId41"/>
    <p:sldLayoutId id="2147483683" r:id="rId42"/>
    <p:sldLayoutId id="2147483684" r:id="rId43"/>
    <p:sldLayoutId id="2147483698" r:id="rId44"/>
    <p:sldLayoutId id="2147483697" r:id="rId45"/>
    <p:sldLayoutId id="2147483685" r:id="rId46"/>
    <p:sldLayoutId id="2147483686" r:id="rId47"/>
    <p:sldLayoutId id="2147483706" r:id="rId48"/>
    <p:sldLayoutId id="2147483688" r:id="rId49"/>
    <p:sldLayoutId id="2147483689" r:id="rId50"/>
    <p:sldLayoutId id="2147483705" r:id="rId51"/>
    <p:sldLayoutId id="2147483651" r:id="rId52"/>
    <p:sldLayoutId id="2147483652" r:id="rId5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491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91" rtl="0" eaLnBrk="1" latinLnBrk="0" hangingPunct="1">
        <a:spcBef>
          <a:spcPts val="6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18" indent="-180018" algn="l" defTabSz="914491" rtl="0" eaLnBrk="1" latinLnBrk="0" hangingPunct="1">
        <a:spcBef>
          <a:spcPts val="600"/>
        </a:spcBef>
        <a:buFont typeface="ABBvoiceOffice" panose="020D0603020503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36" indent="-180018" algn="l" defTabSz="914491" rtl="0" eaLnBrk="1" latinLnBrk="0" hangingPunct="1"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36" indent="-180018" algn="l" defTabSz="914491" rtl="0" eaLnBrk="1" latinLnBrk="0" hangingPunct="1"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36" indent="-180018" algn="l" defTabSz="914491" rtl="0" eaLnBrk="1" latinLnBrk="0" hangingPunct="1"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360036" indent="-180018" algn="l" defTabSz="914491" rtl="0" eaLnBrk="1" latinLnBrk="0" hangingPunct="1"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360036" indent="-180018" algn="l" defTabSz="914491" rtl="0" eaLnBrk="1" latinLnBrk="0" hangingPunct="1"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60036" indent="-180018" algn="l" defTabSz="914491" rtl="0" eaLnBrk="1" latinLnBrk="0" hangingPunct="1"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0036" indent="-180018" algn="l" defTabSz="914491" rtl="0" eaLnBrk="1" latinLnBrk="0" hangingPunct="1"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46" algn="l" defTabSz="9144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91" algn="l" defTabSz="9144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737" algn="l" defTabSz="9144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983" algn="l" defTabSz="9144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229" algn="l" defTabSz="9144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474" algn="l" defTabSz="9144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720" algn="l" defTabSz="9144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966" algn="l" defTabSz="9144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218" userDrawn="1">
          <p15:clr>
            <a:srgbClr val="F26B43"/>
          </p15:clr>
        </p15:guide>
        <p15:guide id="2" pos="5602" userDrawn="1">
          <p15:clr>
            <a:srgbClr val="F26B43"/>
          </p15:clr>
        </p15:guide>
        <p15:guide id="3" pos="158" userDrawn="1">
          <p15:clr>
            <a:srgbClr val="F26B43"/>
          </p15:clr>
        </p15:guide>
        <p15:guide id="4" orient="horz" pos="3726" userDrawn="1">
          <p15:clr>
            <a:srgbClr val="F26B43"/>
          </p15:clr>
        </p15:guide>
        <p15:guide id="5" pos="2881" userDrawn="1">
          <p15:clr>
            <a:srgbClr val="F26B43"/>
          </p15:clr>
        </p15:guide>
        <p15:guide id="6" orient="horz" pos="247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g"/><Relationship Id="rId3" Type="http://schemas.openxmlformats.org/officeDocument/2006/relationships/image" Target="../media/image16.png"/><Relationship Id="rId7" Type="http://schemas.openxmlformats.org/officeDocument/2006/relationships/image" Target="../media/image1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8.tif"/><Relationship Id="rId5" Type="http://schemas.openxmlformats.org/officeDocument/2006/relationships/image" Target="../media/image17.png"/><Relationship Id="rId4" Type="http://schemas.openxmlformats.org/officeDocument/2006/relationships/image" Target="../media/image14.jpg"/><Relationship Id="rId9" Type="http://schemas.openxmlformats.org/officeDocument/2006/relationships/image" Target="../media/image10.jp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tiff"/><Relationship Id="rId13" Type="http://schemas.openxmlformats.org/officeDocument/2006/relationships/image" Target="../media/image30.tiff"/><Relationship Id="rId18" Type="http://schemas.openxmlformats.org/officeDocument/2006/relationships/image" Target="../media/image9.jpg"/><Relationship Id="rId3" Type="http://schemas.openxmlformats.org/officeDocument/2006/relationships/image" Target="../media/image20.jpeg"/><Relationship Id="rId21" Type="http://schemas.openxmlformats.org/officeDocument/2006/relationships/image" Target="../media/image12.jpg"/><Relationship Id="rId7" Type="http://schemas.openxmlformats.org/officeDocument/2006/relationships/image" Target="../media/image24.tiff"/><Relationship Id="rId12" Type="http://schemas.openxmlformats.org/officeDocument/2006/relationships/image" Target="../media/image29.tiff"/><Relationship Id="rId17" Type="http://schemas.openxmlformats.org/officeDocument/2006/relationships/image" Target="../media/image8.jpg"/><Relationship Id="rId2" Type="http://schemas.openxmlformats.org/officeDocument/2006/relationships/notesSlide" Target="../notesSlides/notesSlide7.xml"/><Relationship Id="rId16" Type="http://schemas.openxmlformats.org/officeDocument/2006/relationships/image" Target="../media/image7.jpg"/><Relationship Id="rId20" Type="http://schemas.openxmlformats.org/officeDocument/2006/relationships/image" Target="../media/image11.jp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3.jpeg"/><Relationship Id="rId11" Type="http://schemas.openxmlformats.org/officeDocument/2006/relationships/image" Target="../media/image28.tiff"/><Relationship Id="rId5" Type="http://schemas.openxmlformats.org/officeDocument/2006/relationships/image" Target="../media/image22.jpeg"/><Relationship Id="rId15" Type="http://schemas.openxmlformats.org/officeDocument/2006/relationships/image" Target="../media/image32.tif"/><Relationship Id="rId23" Type="http://schemas.openxmlformats.org/officeDocument/2006/relationships/image" Target="../media/image14.jpg"/><Relationship Id="rId10" Type="http://schemas.openxmlformats.org/officeDocument/2006/relationships/image" Target="../media/image27.tiff"/><Relationship Id="rId19" Type="http://schemas.openxmlformats.org/officeDocument/2006/relationships/image" Target="../media/image10.jpg"/><Relationship Id="rId4" Type="http://schemas.openxmlformats.org/officeDocument/2006/relationships/image" Target="../media/image21.jpeg"/><Relationship Id="rId9" Type="http://schemas.openxmlformats.org/officeDocument/2006/relationships/image" Target="../media/image26.tiff"/><Relationship Id="rId14" Type="http://schemas.openxmlformats.org/officeDocument/2006/relationships/image" Target="../media/image31.tiff"/><Relationship Id="rId22" Type="http://schemas.openxmlformats.org/officeDocument/2006/relationships/image" Target="../media/image13.jp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34.jpe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9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1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g"/><Relationship Id="rId3" Type="http://schemas.openxmlformats.org/officeDocument/2006/relationships/image" Target="../media/image7.jpg"/><Relationship Id="rId7" Type="http://schemas.openxmlformats.org/officeDocument/2006/relationships/image" Target="../media/image11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0.jpg"/><Relationship Id="rId5" Type="http://schemas.openxmlformats.org/officeDocument/2006/relationships/image" Target="../media/image9.jpg"/><Relationship Id="rId10" Type="http://schemas.openxmlformats.org/officeDocument/2006/relationships/image" Target="../media/image14.jpg"/><Relationship Id="rId4" Type="http://schemas.openxmlformats.org/officeDocument/2006/relationships/image" Target="../media/image8.jpg"/><Relationship Id="rId9" Type="http://schemas.openxmlformats.org/officeDocument/2006/relationships/image" Target="../media/image13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15.jpe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2020 12</a:t>
            </a:r>
          </a:p>
        </p:txBody>
      </p:sp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sv-SE" dirty="0"/>
              <a:t>AF NEMA contactors</a:t>
            </a:r>
            <a:endParaRPr lang="en-US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The latest technology is our standard </a:t>
            </a:r>
            <a:endParaRPr lang="de-DE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5767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peed-up your projects</a:t>
            </a:r>
            <a:br>
              <a:rPr lang="en-US" dirty="0"/>
            </a:b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lvl="8"/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57135612-BFA4-4A2B-8309-949B33414019}" type="datetime4">
              <a:rPr lang="en-US" smtClean="0"/>
              <a:t>December 14, 2020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6" name="Subtitle 5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US" dirty="0"/>
              <a:t>Note about AF NEMA coil interface for PLC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4806019" y="2473672"/>
            <a:ext cx="3636394" cy="2851403"/>
            <a:chOff x="4806019" y="2473672"/>
            <a:chExt cx="3063366" cy="2402075"/>
          </a:xfrm>
        </p:grpSpPr>
        <p:grpSp>
          <p:nvGrpSpPr>
            <p:cNvPr id="32" name="Group 31"/>
            <p:cNvGrpSpPr/>
            <p:nvPr/>
          </p:nvGrpSpPr>
          <p:grpSpPr>
            <a:xfrm>
              <a:off x="5512813" y="2493413"/>
              <a:ext cx="811356" cy="831850"/>
              <a:chOff x="2891872" y="5930900"/>
              <a:chExt cx="811356" cy="831850"/>
            </a:xfrm>
          </p:grpSpPr>
          <p:sp>
            <p:nvSpPr>
              <p:cNvPr id="33" name="Oval 32"/>
              <p:cNvSpPr/>
              <p:nvPr/>
            </p:nvSpPr>
            <p:spPr>
              <a:xfrm>
                <a:off x="2891872" y="5930900"/>
                <a:ext cx="811356" cy="831850"/>
              </a:xfrm>
              <a:prstGeom prst="ellipse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34" name="Picture 33"/>
              <p:cNvPicPr>
                <a:picLocks noChangeAspect="1"/>
              </p:cNvPicPr>
              <p:nvPr/>
            </p:nvPicPr>
            <p:blipFill rotWithShape="1">
              <a:blip r:embed="rId3"/>
              <a:srcRect l="33713" t="61429"/>
              <a:stretch/>
            </p:blipFill>
            <p:spPr>
              <a:xfrm>
                <a:off x="2992952" y="6136889"/>
                <a:ext cx="623608" cy="432742"/>
              </a:xfrm>
              <a:prstGeom prst="rect">
                <a:avLst/>
              </a:prstGeom>
            </p:spPr>
          </p:pic>
        </p:grpSp>
        <p:pic>
          <p:nvPicPr>
            <p:cNvPr id="42" name="Image 25"/>
            <p:cNvPicPr>
              <a:picLocks noChangeAspect="1"/>
            </p:cNvPicPr>
            <p:nvPr/>
          </p:nvPicPr>
          <p:blipFill>
            <a:blip r:embed="rId4"/>
            <a:srcRect/>
            <a:stretch/>
          </p:blipFill>
          <p:spPr>
            <a:xfrm>
              <a:off x="6227011" y="3436750"/>
              <a:ext cx="1393027" cy="1281344"/>
            </a:xfrm>
            <a:prstGeom prst="rect">
              <a:avLst/>
            </a:prstGeom>
          </p:spPr>
        </p:pic>
        <p:grpSp>
          <p:nvGrpSpPr>
            <p:cNvPr id="43" name="Group 42"/>
            <p:cNvGrpSpPr/>
            <p:nvPr/>
          </p:nvGrpSpPr>
          <p:grpSpPr>
            <a:xfrm>
              <a:off x="7058029" y="2473672"/>
              <a:ext cx="811356" cy="831850"/>
              <a:chOff x="4023984" y="5877912"/>
              <a:chExt cx="811356" cy="831850"/>
            </a:xfrm>
          </p:grpSpPr>
          <p:sp>
            <p:nvSpPr>
              <p:cNvPr id="44" name="Oval 43"/>
              <p:cNvSpPr/>
              <p:nvPr/>
            </p:nvSpPr>
            <p:spPr>
              <a:xfrm>
                <a:off x="4023984" y="5877912"/>
                <a:ext cx="811356" cy="831850"/>
              </a:xfrm>
              <a:prstGeom prst="ellipse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45" name="Picture 44"/>
              <p:cNvPicPr>
                <a:picLocks noChangeAspect="1"/>
              </p:cNvPicPr>
              <p:nvPr/>
            </p:nvPicPr>
            <p:blipFill rotWithShape="1">
              <a:blip r:embed="rId5"/>
              <a:srcRect l="2580" t="25480" r="40844" b="41956"/>
              <a:stretch/>
            </p:blipFill>
            <p:spPr>
              <a:xfrm>
                <a:off x="4114800" y="6109713"/>
                <a:ext cx="603250" cy="442102"/>
              </a:xfrm>
              <a:prstGeom prst="rect">
                <a:avLst/>
              </a:prstGeom>
            </p:spPr>
          </p:pic>
        </p:grpSp>
        <p:pic>
          <p:nvPicPr>
            <p:cNvPr id="46" name="Picture 45"/>
            <p:cNvPicPr>
              <a:picLocks noChangeAspect="1"/>
            </p:cNvPicPr>
            <p:nvPr/>
          </p:nvPicPr>
          <p:blipFill>
            <a:blip r:embed="rId6"/>
            <a:srcRect/>
            <a:stretch/>
          </p:blipFill>
          <p:spPr>
            <a:xfrm>
              <a:off x="4860280" y="3550142"/>
              <a:ext cx="819663" cy="1113936"/>
            </a:xfrm>
            <a:prstGeom prst="rect">
              <a:avLst/>
            </a:prstGeom>
          </p:spPr>
        </p:pic>
        <p:sp>
          <p:nvSpPr>
            <p:cNvPr id="49" name="Rectangle 48"/>
            <p:cNvSpPr/>
            <p:nvPr/>
          </p:nvSpPr>
          <p:spPr>
            <a:xfrm>
              <a:off x="4806019" y="4694253"/>
              <a:ext cx="706793" cy="18149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nl-NL" sz="800" b="1" i="0" u="none" strike="noStrike" baseline="0" dirty="0">
                  <a:solidFill>
                    <a:srgbClr val="000000"/>
                  </a:solidFill>
                  <a:latin typeface="ABBvoice" panose="020D0603020503020204" pitchFamily="34" charset="0"/>
                </a:rPr>
                <a:t>AF460N6 </a:t>
              </a:r>
              <a:endParaRPr lang="en-US" sz="800" dirty="0"/>
            </a:p>
          </p:txBody>
        </p:sp>
        <p:sp>
          <p:nvSpPr>
            <p:cNvPr id="50" name="Rectangle 49"/>
            <p:cNvSpPr/>
            <p:nvPr/>
          </p:nvSpPr>
          <p:spPr>
            <a:xfrm>
              <a:off x="6172534" y="4694253"/>
              <a:ext cx="731472" cy="18149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nl-NL" sz="800" b="1" i="0" u="none" strike="noStrike" baseline="0" dirty="0">
                  <a:solidFill>
                    <a:srgbClr val="000000"/>
                  </a:solidFill>
                  <a:latin typeface="ABBvoice" panose="020D0603020503020204" pitchFamily="34" charset="0"/>
                </a:rPr>
                <a:t>AF1650N8 </a:t>
              </a:r>
              <a:endParaRPr lang="en-US" sz="800" dirty="0"/>
            </a:p>
          </p:txBody>
        </p:sp>
        <p:cxnSp>
          <p:nvCxnSpPr>
            <p:cNvPr id="51" name="Straight Connector 50"/>
            <p:cNvCxnSpPr>
              <a:cxnSpLocks/>
              <a:endCxn id="33" idx="4"/>
            </p:cNvCxnSpPr>
            <p:nvPr/>
          </p:nvCxnSpPr>
          <p:spPr>
            <a:xfrm flipV="1">
              <a:off x="5169490" y="3325263"/>
              <a:ext cx="749002" cy="619757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/>
            <p:cNvCxnSpPr>
              <a:cxnSpLocks/>
            </p:cNvCxnSpPr>
            <p:nvPr/>
          </p:nvCxnSpPr>
          <p:spPr>
            <a:xfrm flipV="1">
              <a:off x="6543205" y="3278805"/>
              <a:ext cx="747606" cy="68865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" name="Group 1"/>
          <p:cNvGrpSpPr/>
          <p:nvPr/>
        </p:nvGrpSpPr>
        <p:grpSpPr>
          <a:xfrm>
            <a:off x="463337" y="2697962"/>
            <a:ext cx="2630144" cy="2585156"/>
            <a:chOff x="463337" y="2697963"/>
            <a:chExt cx="2215682" cy="2177784"/>
          </a:xfrm>
        </p:grpSpPr>
        <p:pic>
          <p:nvPicPr>
            <p:cNvPr id="29" name="Picture 28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600480" y="2697963"/>
              <a:ext cx="585018" cy="553191"/>
            </a:xfrm>
            <a:prstGeom prst="rect">
              <a:avLst/>
            </a:prstGeom>
          </p:spPr>
        </p:pic>
        <p:grpSp>
          <p:nvGrpSpPr>
            <p:cNvPr id="35" name="Group 34"/>
            <p:cNvGrpSpPr/>
            <p:nvPr/>
          </p:nvGrpSpPr>
          <p:grpSpPr>
            <a:xfrm>
              <a:off x="784453" y="3211662"/>
              <a:ext cx="1547814" cy="846796"/>
              <a:chOff x="616727" y="6403916"/>
              <a:chExt cx="1816100" cy="646979"/>
            </a:xfrm>
          </p:grpSpPr>
          <p:cxnSp>
            <p:nvCxnSpPr>
              <p:cNvPr id="36" name="Straight Connector 35"/>
              <p:cNvCxnSpPr/>
              <p:nvPr/>
            </p:nvCxnSpPr>
            <p:spPr>
              <a:xfrm>
                <a:off x="616727" y="6654022"/>
                <a:ext cx="1816100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/>
              <p:cNvCxnSpPr/>
              <p:nvPr/>
            </p:nvCxnSpPr>
            <p:spPr>
              <a:xfrm>
                <a:off x="2432827" y="6654022"/>
                <a:ext cx="0" cy="261128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/>
              <p:cNvCxnSpPr/>
              <p:nvPr/>
            </p:nvCxnSpPr>
            <p:spPr>
              <a:xfrm>
                <a:off x="842257" y="6403916"/>
                <a:ext cx="0" cy="261128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/>
              <p:cNvCxnSpPr/>
              <p:nvPr/>
            </p:nvCxnSpPr>
            <p:spPr>
              <a:xfrm>
                <a:off x="616727" y="6654022"/>
                <a:ext cx="0" cy="39687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40" name="Image 15"/>
            <p:cNvPicPr>
              <a:picLocks noChangeAspect="1"/>
            </p:cNvPicPr>
            <p:nvPr/>
          </p:nvPicPr>
          <p:blipFill>
            <a:blip r:embed="rId8"/>
            <a:srcRect/>
            <a:stretch/>
          </p:blipFill>
          <p:spPr>
            <a:xfrm>
              <a:off x="576239" y="3980365"/>
              <a:ext cx="438891" cy="611171"/>
            </a:xfrm>
            <a:prstGeom prst="rect">
              <a:avLst/>
            </a:prstGeom>
          </p:spPr>
        </p:pic>
        <p:pic>
          <p:nvPicPr>
            <p:cNvPr id="41" name="Image 18"/>
            <p:cNvPicPr>
              <a:picLocks noChangeAspect="1"/>
            </p:cNvPicPr>
            <p:nvPr/>
          </p:nvPicPr>
          <p:blipFill>
            <a:blip r:embed="rId9"/>
            <a:srcRect/>
            <a:stretch/>
          </p:blipFill>
          <p:spPr>
            <a:xfrm>
              <a:off x="2010577" y="3677341"/>
              <a:ext cx="668442" cy="912275"/>
            </a:xfrm>
            <a:prstGeom prst="rect">
              <a:avLst/>
            </a:prstGeom>
          </p:spPr>
        </p:pic>
        <p:sp>
          <p:nvSpPr>
            <p:cNvPr id="47" name="Rectangle 46"/>
            <p:cNvSpPr/>
            <p:nvPr/>
          </p:nvSpPr>
          <p:spPr>
            <a:xfrm>
              <a:off x="463337" y="4694253"/>
              <a:ext cx="554824" cy="18149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nl-NL" sz="800" b="1" i="0" u="none" strike="noStrike" baseline="0" dirty="0">
                  <a:solidFill>
                    <a:srgbClr val="000000"/>
                  </a:solidFill>
                  <a:latin typeface="ABBvoice" panose="020D0603020503020204" pitchFamily="34" charset="0"/>
                </a:rPr>
                <a:t>AF09N00 </a:t>
              </a:r>
              <a:endParaRPr lang="en-US" sz="800" dirty="0"/>
            </a:p>
          </p:txBody>
        </p:sp>
        <p:sp>
          <p:nvSpPr>
            <p:cNvPr id="48" name="Rectangle 47"/>
            <p:cNvSpPr/>
            <p:nvPr/>
          </p:nvSpPr>
          <p:spPr>
            <a:xfrm>
              <a:off x="1971645" y="4694253"/>
              <a:ext cx="531411" cy="18149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nl-NL" sz="800" b="1" i="0" u="none" strike="noStrike" baseline="0" dirty="0">
                  <a:solidFill>
                    <a:srgbClr val="000000"/>
                  </a:solidFill>
                  <a:latin typeface="ABBvoice" panose="020D0603020503020204" pitchFamily="34" charset="0"/>
                </a:rPr>
                <a:t>AF80N3 </a:t>
              </a:r>
              <a:endParaRPr lang="en-US" sz="800" dirty="0"/>
            </a:p>
          </p:txBody>
        </p:sp>
        <p:sp>
          <p:nvSpPr>
            <p:cNvPr id="53" name="Rectangle 52"/>
            <p:cNvSpPr/>
            <p:nvPr/>
          </p:nvSpPr>
          <p:spPr>
            <a:xfrm>
              <a:off x="506587" y="3194527"/>
              <a:ext cx="443128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nl-NL" sz="800" b="1" i="0" u="none" strike="noStrike" baseline="0" dirty="0">
                  <a:latin typeface="ABBvoice" panose="020D0603020503020204" pitchFamily="34" charset="0"/>
                </a:rPr>
                <a:t>RA4</a:t>
              </a:r>
              <a:endParaRPr lang="en-US" sz="800" dirty="0"/>
            </a:p>
          </p:txBody>
        </p:sp>
      </p:grpSp>
      <p:sp>
        <p:nvSpPr>
          <p:cNvPr id="54" name="Rectangle 53"/>
          <p:cNvSpPr/>
          <p:nvPr/>
        </p:nvSpPr>
        <p:spPr>
          <a:xfrm>
            <a:off x="363682" y="1916867"/>
            <a:ext cx="160551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l-NL" sz="800" b="1" i="0" u="none" strike="noStrike" baseline="0" dirty="0">
                <a:solidFill>
                  <a:srgbClr val="000000"/>
                </a:solidFill>
                <a:latin typeface="ABBvoice" panose="020D0603020503020204" pitchFamily="34" charset="0"/>
              </a:rPr>
              <a:t>Interface relay</a:t>
            </a:r>
          </a:p>
          <a:p>
            <a:r>
              <a:rPr lang="nl-NL" sz="800" b="1" i="0" u="none" strike="noStrike" baseline="0" dirty="0">
                <a:solidFill>
                  <a:srgbClr val="000000"/>
                </a:solidFill>
                <a:latin typeface="ABBvoice" panose="020D0603020503020204" pitchFamily="34" charset="0"/>
              </a:rPr>
              <a:t>AF09N00 up </a:t>
            </a:r>
            <a:r>
              <a:rPr lang="nl-NL" sz="800" b="1" i="0" u="none" strike="noStrike" baseline="0" dirty="0" err="1">
                <a:solidFill>
                  <a:srgbClr val="000000"/>
                </a:solidFill>
                <a:latin typeface="ABBvoice" panose="020D0603020503020204" pitchFamily="34" charset="0"/>
              </a:rPr>
              <a:t>to</a:t>
            </a:r>
            <a:r>
              <a:rPr lang="nl-NL" sz="800" b="1" i="0" u="none" strike="noStrike" baseline="0" dirty="0">
                <a:solidFill>
                  <a:srgbClr val="000000"/>
                </a:solidFill>
                <a:latin typeface="ABBvoice" panose="020D0603020503020204" pitchFamily="34" charset="0"/>
              </a:rPr>
              <a:t> AF80N3</a:t>
            </a:r>
            <a:endParaRPr lang="en-US" sz="800" dirty="0"/>
          </a:p>
        </p:txBody>
      </p:sp>
      <p:sp>
        <p:nvSpPr>
          <p:cNvPr id="55" name="Rectangle 54"/>
          <p:cNvSpPr/>
          <p:nvPr/>
        </p:nvSpPr>
        <p:spPr>
          <a:xfrm>
            <a:off x="4826151" y="1916867"/>
            <a:ext cx="160551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l-NL" sz="800" b="1" i="0" u="none" strike="noStrike" baseline="0" dirty="0">
                <a:solidFill>
                  <a:srgbClr val="000000"/>
                </a:solidFill>
                <a:latin typeface="ABBvoice" panose="020D0603020503020204" pitchFamily="34" charset="0"/>
              </a:rPr>
              <a:t>Built-in PLC interface</a:t>
            </a:r>
          </a:p>
          <a:p>
            <a:r>
              <a:rPr lang="nl-NL" sz="800" b="1" i="0" u="none" strike="noStrike" baseline="0" dirty="0">
                <a:solidFill>
                  <a:srgbClr val="000000"/>
                </a:solidFill>
                <a:latin typeface="ABBvoice" panose="020D0603020503020204" pitchFamily="34" charset="0"/>
              </a:rPr>
              <a:t>AF460N6 up </a:t>
            </a:r>
            <a:r>
              <a:rPr lang="nl-NL" sz="800" b="1" i="0" u="none" strike="noStrike" baseline="0" dirty="0" err="1">
                <a:solidFill>
                  <a:srgbClr val="000000"/>
                </a:solidFill>
                <a:latin typeface="ABBvoice" panose="020D0603020503020204" pitchFamily="34" charset="0"/>
              </a:rPr>
              <a:t>to</a:t>
            </a:r>
            <a:r>
              <a:rPr lang="nl-NL" sz="800" b="1" i="0" u="none" strike="noStrike" baseline="0" dirty="0">
                <a:solidFill>
                  <a:srgbClr val="000000"/>
                </a:solidFill>
                <a:latin typeface="ABBvoice" panose="020D0603020503020204" pitchFamily="34" charset="0"/>
              </a:rPr>
              <a:t> AF1650N8</a:t>
            </a:r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3676314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FAB2352-921F-4DD8-A99A-A1474F6943FF}" type="datetime4">
              <a:rPr lang="en-US" smtClean="0"/>
              <a:t>December 14, 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lvl="8"/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6" name="Subtitle 5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US" dirty="0">
                <a:solidFill>
                  <a:schemeClr val="accent1"/>
                </a:solidFill>
              </a:rPr>
              <a:t>Thermal and electronic overload protection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peed-up your projects</a:t>
            </a:r>
          </a:p>
        </p:txBody>
      </p:sp>
      <p:graphicFrame>
        <p:nvGraphicFramePr>
          <p:cNvPr id="26" name="Tableau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26817147"/>
              </p:ext>
            </p:extLst>
          </p:nvPr>
        </p:nvGraphicFramePr>
        <p:xfrm>
          <a:off x="246940" y="4293268"/>
          <a:ext cx="8739795" cy="455472"/>
        </p:xfrm>
        <a:graphic>
          <a:graphicData uri="http://schemas.openxmlformats.org/drawingml/2006/table">
            <a:tbl>
              <a:tblPr>
                <a:tableStyleId>{773F8A54-F971-430D-9108-034FE38666EA}</a:tableStyleId>
              </a:tblPr>
              <a:tblGrid>
                <a:gridCol w="143680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6364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11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3152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1808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878543">
                  <a:extLst>
                    <a:ext uri="{9D8B030D-6E8A-4147-A177-3AD203B41FA5}">
                      <a16:colId xmlns:a16="http://schemas.microsoft.com/office/drawing/2014/main" val="2092816500"/>
                    </a:ext>
                  </a:extLst>
                </a:gridCol>
              </a:tblGrid>
              <a:tr h="227736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Thermal O/L</a:t>
                      </a:r>
                      <a:endParaRPr lang="en-US" sz="900" b="1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27432" marB="27432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TF42</a:t>
                      </a:r>
                    </a:p>
                  </a:txBody>
                  <a:tcPr marL="0" marR="0" marT="27432" marB="27432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TF65</a:t>
                      </a:r>
                    </a:p>
                  </a:txBody>
                  <a:tcPr marL="0" marR="0" marT="27432" marB="27432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TF96</a:t>
                      </a:r>
                    </a:p>
                  </a:txBody>
                  <a:tcPr marL="0" marR="0" marT="27432" marB="27432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TF140DU</a:t>
                      </a:r>
                    </a:p>
                  </a:txBody>
                  <a:tcPr marL="0" marR="0" marT="27432" marB="27432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0" marR="0" marT="27432" marB="27432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7736">
                <a:tc>
                  <a:txBody>
                    <a:bodyPr/>
                    <a:lstStyle/>
                    <a:p>
                      <a:pPr marL="0" algn="l" defTabSz="914491" rtl="0" eaLnBrk="1" fontAlgn="b" latinLnBrk="0" hangingPunct="1"/>
                      <a:r>
                        <a:rPr lang="fr-FR" sz="9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ange (A)</a:t>
                      </a:r>
                    </a:p>
                  </a:txBody>
                  <a:tcPr marL="11387" marR="11387" marT="27432" marB="27432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91" rtl="0" eaLnBrk="1" fontAlgn="b" latinLnBrk="0" hangingPunct="1"/>
                      <a:r>
                        <a:rPr lang="fr-FR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,10 … 38 A</a:t>
                      </a:r>
                    </a:p>
                  </a:txBody>
                  <a:tcPr marL="11387" marR="11387" marT="27432" marB="2743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91" rtl="0" eaLnBrk="1" fontAlgn="b" latinLnBrk="0" hangingPunct="1"/>
                      <a:r>
                        <a:rPr lang="fr-FR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2 … 67 A</a:t>
                      </a:r>
                    </a:p>
                  </a:txBody>
                  <a:tcPr marL="11387" marR="11387" marT="27432" marB="2743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91" rtl="0" eaLnBrk="1" fontAlgn="b" latinLnBrk="0" hangingPunct="1"/>
                      <a:r>
                        <a:rPr lang="fr-FR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0 … 96 A</a:t>
                      </a:r>
                    </a:p>
                  </a:txBody>
                  <a:tcPr marL="11387" marR="11387" marT="27432" marB="2743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91" rtl="0" eaLnBrk="1" fontAlgn="b" latinLnBrk="0" hangingPunct="1"/>
                      <a:r>
                        <a:rPr lang="fr-FR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6 … 142 A</a:t>
                      </a:r>
                    </a:p>
                  </a:txBody>
                  <a:tcPr marL="11387" marR="11387" marT="27432" marB="2743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91" rtl="0" eaLnBrk="1" fontAlgn="b" latinLnBrk="0" hangingPunct="1"/>
                      <a:r>
                        <a:rPr lang="fr-FR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11387" marR="11387" marT="27432" marB="2743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27" name="Image 38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294"/>
          <a:stretch/>
        </p:blipFill>
        <p:spPr>
          <a:xfrm>
            <a:off x="2667231" y="3826853"/>
            <a:ext cx="303686" cy="428416"/>
          </a:xfrm>
          <a:prstGeom prst="rect">
            <a:avLst/>
          </a:prstGeom>
        </p:spPr>
      </p:pic>
      <p:pic>
        <p:nvPicPr>
          <p:cNvPr id="28" name="Image 43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0264"/>
          <a:stretch/>
        </p:blipFill>
        <p:spPr>
          <a:xfrm>
            <a:off x="4125796" y="3799796"/>
            <a:ext cx="360000" cy="455473"/>
          </a:xfrm>
          <a:prstGeom prst="rect">
            <a:avLst/>
          </a:prstGeom>
        </p:spPr>
      </p:pic>
      <p:pic>
        <p:nvPicPr>
          <p:cNvPr id="29" name="Image 44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922"/>
          <a:stretch/>
        </p:blipFill>
        <p:spPr>
          <a:xfrm>
            <a:off x="4838249" y="3774100"/>
            <a:ext cx="378863" cy="481169"/>
          </a:xfrm>
          <a:prstGeom prst="rect">
            <a:avLst/>
          </a:prstGeom>
        </p:spPr>
      </p:pic>
      <p:pic>
        <p:nvPicPr>
          <p:cNvPr id="30" name="Image 45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769"/>
          <a:stretch/>
        </p:blipFill>
        <p:spPr>
          <a:xfrm>
            <a:off x="5552880" y="3706446"/>
            <a:ext cx="451679" cy="548823"/>
          </a:xfrm>
          <a:prstGeom prst="rect">
            <a:avLst/>
          </a:prstGeom>
        </p:spPr>
      </p:pic>
      <p:pic>
        <p:nvPicPr>
          <p:cNvPr id="31" name="Image 30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935"/>
          <a:stretch/>
        </p:blipFill>
        <p:spPr>
          <a:xfrm>
            <a:off x="2301808" y="5044512"/>
            <a:ext cx="315502" cy="431389"/>
          </a:xfrm>
          <a:prstGeom prst="rect">
            <a:avLst/>
          </a:prstGeom>
        </p:spPr>
      </p:pic>
      <p:pic>
        <p:nvPicPr>
          <p:cNvPr id="32" name="Image 31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756"/>
          <a:stretch/>
        </p:blipFill>
        <p:spPr>
          <a:xfrm>
            <a:off x="3422355" y="5022229"/>
            <a:ext cx="324000" cy="453672"/>
          </a:xfrm>
          <a:prstGeom prst="rect">
            <a:avLst/>
          </a:prstGeom>
        </p:spPr>
      </p:pic>
      <p:pic>
        <p:nvPicPr>
          <p:cNvPr id="33" name="Image 32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4779" y="5054042"/>
            <a:ext cx="360000" cy="421859"/>
          </a:xfrm>
          <a:prstGeom prst="rect">
            <a:avLst/>
          </a:prstGeom>
        </p:spPr>
      </p:pic>
      <p:pic>
        <p:nvPicPr>
          <p:cNvPr id="34" name="Image 34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25994" y="5007562"/>
            <a:ext cx="396000" cy="468339"/>
          </a:xfrm>
          <a:prstGeom prst="rect">
            <a:avLst/>
          </a:prstGeom>
        </p:spPr>
      </p:pic>
      <p:pic>
        <p:nvPicPr>
          <p:cNvPr id="35" name="Image 35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2881" y="4917776"/>
            <a:ext cx="396000" cy="558125"/>
          </a:xfrm>
          <a:prstGeom prst="rect">
            <a:avLst/>
          </a:prstGeom>
        </p:spPr>
      </p:pic>
      <p:graphicFrame>
        <p:nvGraphicFramePr>
          <p:cNvPr id="36" name="Tableau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41159739"/>
              </p:ext>
            </p:extLst>
          </p:nvPr>
        </p:nvGraphicFramePr>
        <p:xfrm>
          <a:off x="251791" y="5511648"/>
          <a:ext cx="8641081" cy="455472"/>
        </p:xfrm>
        <a:graphic>
          <a:graphicData uri="http://schemas.openxmlformats.org/drawingml/2006/table">
            <a:tbl>
              <a:tblPr>
                <a:tableStyleId>{773F8A54-F971-430D-9108-034FE38666EA}</a:tableStyleId>
              </a:tblPr>
              <a:tblGrid>
                <a:gridCol w="14307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4980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0713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3152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0713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31520">
                  <a:extLst>
                    <a:ext uri="{9D8B030D-6E8A-4147-A177-3AD203B41FA5}">
                      <a16:colId xmlns:a16="http://schemas.microsoft.com/office/drawing/2014/main" val="1372606780"/>
                    </a:ext>
                  </a:extLst>
                </a:gridCol>
                <a:gridCol w="719328">
                  <a:extLst>
                    <a:ext uri="{9D8B030D-6E8A-4147-A177-3AD203B41FA5}">
                      <a16:colId xmlns:a16="http://schemas.microsoft.com/office/drawing/2014/main" val="1580380380"/>
                    </a:ext>
                  </a:extLst>
                </a:gridCol>
                <a:gridCol w="691896">
                  <a:extLst>
                    <a:ext uri="{9D8B030D-6E8A-4147-A177-3AD203B41FA5}">
                      <a16:colId xmlns:a16="http://schemas.microsoft.com/office/drawing/2014/main" val="3199521362"/>
                    </a:ext>
                  </a:extLst>
                </a:gridCol>
                <a:gridCol w="648032">
                  <a:extLst>
                    <a:ext uri="{9D8B030D-6E8A-4147-A177-3AD203B41FA5}">
                      <a16:colId xmlns:a16="http://schemas.microsoft.com/office/drawing/2014/main" val="73875634"/>
                    </a:ext>
                  </a:extLst>
                </a:gridCol>
              </a:tblGrid>
              <a:tr h="227736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Electronic O/L</a:t>
                      </a:r>
                    </a:p>
                  </a:txBody>
                  <a:tcPr marL="0" marR="0" marT="27432" marB="27432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EF19</a:t>
                      </a:r>
                      <a:endParaRPr lang="en-US" sz="900" b="1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27432" marB="27432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EF45</a:t>
                      </a:r>
                    </a:p>
                  </a:txBody>
                  <a:tcPr marL="0" marR="0" marT="27432" marB="27432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EF65</a:t>
                      </a:r>
                    </a:p>
                  </a:txBody>
                  <a:tcPr marL="0" marR="0" marT="27432" marB="27432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EF96</a:t>
                      </a:r>
                    </a:p>
                  </a:txBody>
                  <a:tcPr marL="0" marR="0" marT="27432" marB="27432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EF146DU</a:t>
                      </a:r>
                    </a:p>
                  </a:txBody>
                  <a:tcPr marL="0" marR="0" marT="27432" marB="27432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EF370</a:t>
                      </a:r>
                    </a:p>
                  </a:txBody>
                  <a:tcPr marL="0" marR="0" marT="27432" marB="27432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EF460</a:t>
                      </a:r>
                    </a:p>
                  </a:txBody>
                  <a:tcPr marL="0" marR="0" marT="27432" marB="27432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EF750</a:t>
                      </a:r>
                    </a:p>
                  </a:txBody>
                  <a:tcPr marL="0" marR="0" marT="27432" marB="27432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EF1250DU</a:t>
                      </a:r>
                    </a:p>
                  </a:txBody>
                  <a:tcPr marL="0" marR="0" marT="27432" marB="27432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7736">
                <a:tc>
                  <a:txBody>
                    <a:bodyPr/>
                    <a:lstStyle/>
                    <a:p>
                      <a:pPr marL="0" algn="l" defTabSz="914491" rtl="0" eaLnBrk="1" fontAlgn="b" latinLnBrk="0" hangingPunct="1"/>
                      <a:r>
                        <a:rPr lang="fr-FR" sz="9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ange (A)</a:t>
                      </a:r>
                    </a:p>
                  </a:txBody>
                  <a:tcPr marL="11387" marR="11387" marT="27432" marB="27432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91" rtl="0" eaLnBrk="1" fontAlgn="b" latinLnBrk="0" hangingPunct="1"/>
                      <a:r>
                        <a:rPr lang="fr-FR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,10 … 18,9</a:t>
                      </a:r>
                    </a:p>
                  </a:txBody>
                  <a:tcPr marL="11387" marR="11387" marT="27432" marB="2743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91" rtl="0" eaLnBrk="1" fontAlgn="b" latinLnBrk="0" hangingPunct="1"/>
                      <a:r>
                        <a:rPr lang="fr-FR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 … 45</a:t>
                      </a:r>
                    </a:p>
                  </a:txBody>
                  <a:tcPr marL="11387" marR="11387" marT="27432" marB="2743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91" rtl="0" eaLnBrk="1" fontAlgn="b" latinLnBrk="0" hangingPunct="1"/>
                      <a:r>
                        <a:rPr lang="fr-FR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 … 70</a:t>
                      </a:r>
                    </a:p>
                  </a:txBody>
                  <a:tcPr marL="11387" marR="11387" marT="27432" marB="2743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91" rtl="0" eaLnBrk="1" fontAlgn="b" latinLnBrk="0" hangingPunct="1"/>
                      <a:r>
                        <a:rPr lang="fr-FR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6 … 100</a:t>
                      </a:r>
                    </a:p>
                  </a:txBody>
                  <a:tcPr marL="11387" marR="11387" marT="27432" marB="2743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91" rtl="0" eaLnBrk="1" fontAlgn="b" latinLnBrk="0" hangingPunct="1"/>
                      <a:r>
                        <a:rPr lang="fr-FR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4 … 150</a:t>
                      </a:r>
                    </a:p>
                  </a:txBody>
                  <a:tcPr marL="11387" marR="11387" marT="27432" marB="2743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91" rtl="0" eaLnBrk="1" fontAlgn="b" latinLnBrk="0" hangingPunct="1"/>
                      <a:r>
                        <a:rPr lang="fr-FR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5 … 380</a:t>
                      </a:r>
                    </a:p>
                  </a:txBody>
                  <a:tcPr marL="11387" marR="11387" marT="27432" marB="2743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91" rtl="0" eaLnBrk="1" fontAlgn="b" latinLnBrk="0" hangingPunct="1"/>
                      <a:r>
                        <a:rPr lang="fr-FR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0 … 500</a:t>
                      </a:r>
                    </a:p>
                  </a:txBody>
                  <a:tcPr marL="11387" marR="11387" marT="27432" marB="2743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91" rtl="0" eaLnBrk="1" fontAlgn="b" latinLnBrk="0" hangingPunct="1"/>
                      <a:r>
                        <a:rPr lang="fr-FR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50 … 800</a:t>
                      </a:r>
                    </a:p>
                  </a:txBody>
                  <a:tcPr marL="11387" marR="11387" marT="27432" marB="2743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91" rtl="0" eaLnBrk="1" fontAlgn="b" latinLnBrk="0" hangingPunct="1"/>
                      <a:r>
                        <a:rPr lang="fr-FR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75 … 1250</a:t>
                      </a:r>
                    </a:p>
                  </a:txBody>
                  <a:tcPr marL="11387" marR="11387" marT="27432" marB="2743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42" name="Tableau 26">
            <a:extLst>
              <a:ext uri="{FF2B5EF4-FFF2-40B4-BE49-F238E27FC236}">
                <a16:creationId xmlns:a16="http://schemas.microsoft.com/office/drawing/2014/main" id="{E1B9A75F-FAA7-4035-9AAF-4B7401EF3E6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43908790"/>
              </p:ext>
            </p:extLst>
          </p:nvPr>
        </p:nvGraphicFramePr>
        <p:xfrm>
          <a:off x="246940" y="2442181"/>
          <a:ext cx="8740405" cy="960120"/>
        </p:xfrm>
        <a:graphic>
          <a:graphicData uri="http://schemas.openxmlformats.org/drawingml/2006/table">
            <a:tbl>
              <a:tblPr>
                <a:tableStyleId>{773F8A54-F971-430D-9108-034FE38666EA}</a:tableStyleId>
              </a:tblPr>
              <a:tblGrid>
                <a:gridCol w="14447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1476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2010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2010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20105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720105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720105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720105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720105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720105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720105">
                  <a:extLst>
                    <a:ext uri="{9D8B030D-6E8A-4147-A177-3AD203B41FA5}">
                      <a16:colId xmlns:a16="http://schemas.microsoft.com/office/drawing/2014/main" val="1626802311"/>
                    </a:ext>
                  </a:extLst>
                </a:gridCol>
              </a:tblGrid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ontactors</a:t>
                      </a:r>
                      <a:endParaRPr lang="en-US" sz="900" b="1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27432" marR="27432" marT="27432" marB="27432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F09N00</a:t>
                      </a:r>
                      <a:endParaRPr lang="en-US" sz="900" b="1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27432" marR="27432" marT="27432" marB="27432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F12N0</a:t>
                      </a:r>
                      <a:endParaRPr lang="en-US" sz="900" b="1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27432" marR="27432" marT="27432" marB="27432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F26N1</a:t>
                      </a:r>
                      <a:endParaRPr lang="en-US" sz="900" b="1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27432" marR="27432" marT="27432" marB="27432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F40N2</a:t>
                      </a:r>
                      <a:endParaRPr lang="en-US" sz="900" b="1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27432" marR="27432" marT="27432" marB="27432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F80N3</a:t>
                      </a:r>
                      <a:endParaRPr lang="en-US" sz="900" b="1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27432" marR="27432" marT="27432" marB="27432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F140N4</a:t>
                      </a:r>
                      <a:endParaRPr lang="en-US" sz="900" b="1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27432" marR="27432" marT="27432" marB="27432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F265N5</a:t>
                      </a:r>
                      <a:endParaRPr lang="en-US" sz="900" b="1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27432" marR="27432" marT="27432" marB="27432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F460N6</a:t>
                      </a:r>
                      <a:endParaRPr lang="en-US" sz="900" b="1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27432" marR="27432" marT="27432" marB="27432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F750N7</a:t>
                      </a:r>
                      <a:endParaRPr lang="en-US" sz="900" b="1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27432" marR="27432" marT="27432" marB="27432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F1650N8</a:t>
                      </a:r>
                    </a:p>
                  </a:txBody>
                  <a:tcPr marL="27432" marR="27432" marT="27432" marB="27432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91449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u="none" strike="noStrike" noProof="0" dirty="0">
                          <a:effectLst/>
                          <a:latin typeface="+mn-lt"/>
                        </a:rPr>
                        <a:t>Rating (hp)  200V</a:t>
                      </a:r>
                      <a:endParaRPr lang="en-US" sz="900" b="1" i="0" u="none" strike="noStrike" noProof="0" dirty="0">
                        <a:solidFill>
                          <a:schemeClr val="accent1"/>
                        </a:solidFill>
                        <a:effectLst/>
                        <a:latin typeface="+mn-lt"/>
                      </a:endParaRPr>
                    </a:p>
                  </a:txBody>
                  <a:tcPr marL="27432" marR="27432" marT="27432" marB="27432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5</a:t>
                      </a:r>
                    </a:p>
                  </a:txBody>
                  <a:tcPr marL="27432" marR="27432" marT="27432" marB="27432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27432" marR="27432" marT="27432" marB="27432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,5</a:t>
                      </a:r>
                    </a:p>
                  </a:txBody>
                  <a:tcPr marL="27432" marR="27432" marT="27432" marB="27432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27432" marR="27432" marT="27432" marB="27432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</a:t>
                      </a:r>
                    </a:p>
                  </a:txBody>
                  <a:tcPr marL="27432" marR="27432" marT="27432" marB="27432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0</a:t>
                      </a:r>
                    </a:p>
                  </a:txBody>
                  <a:tcPr marL="27432" marR="27432" marT="27432" marB="27432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5</a:t>
                      </a:r>
                    </a:p>
                  </a:txBody>
                  <a:tcPr marL="27432" marR="27432" marT="27432" marB="27432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0</a:t>
                      </a:r>
                    </a:p>
                  </a:txBody>
                  <a:tcPr marL="27432" marR="27432" marT="27432" marB="27432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27432" marR="27432" marT="27432" marB="27432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27432" marR="27432" marT="27432" marB="27432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5718634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91449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u="none" strike="noStrike" noProof="0" dirty="0">
                          <a:effectLst/>
                          <a:latin typeface="+mn-lt"/>
                        </a:rPr>
                        <a:t>Rating (hp</a:t>
                      </a:r>
                      <a:r>
                        <a:rPr lang="en-US" sz="900" b="1" u="none" strike="noStrike" noProof="0">
                          <a:effectLst/>
                          <a:latin typeface="+mn-lt"/>
                        </a:rPr>
                        <a:t>)  230V</a:t>
                      </a:r>
                      <a:endParaRPr lang="en-US" sz="900" b="1" i="0" u="none" strike="noStrike" noProof="0" dirty="0">
                        <a:solidFill>
                          <a:schemeClr val="accent1"/>
                        </a:solidFill>
                        <a:effectLst/>
                        <a:latin typeface="+mn-lt"/>
                      </a:endParaRPr>
                    </a:p>
                  </a:txBody>
                  <a:tcPr marL="27432" marR="27432" marT="27432" marB="27432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5</a:t>
                      </a:r>
                    </a:p>
                  </a:txBody>
                  <a:tcPr marL="27432" marR="27432" marT="27432" marB="27432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27432" marR="27432" marT="27432" marB="27432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,5</a:t>
                      </a:r>
                    </a:p>
                  </a:txBody>
                  <a:tcPr marL="27432" marR="27432" marT="27432" marB="27432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27432" marR="27432" marT="27432" marB="27432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</a:t>
                      </a:r>
                    </a:p>
                  </a:txBody>
                  <a:tcPr marL="27432" marR="27432" marT="27432" marB="27432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0</a:t>
                      </a:r>
                    </a:p>
                  </a:txBody>
                  <a:tcPr marL="27432" marR="27432" marT="27432" marB="27432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0</a:t>
                      </a:r>
                    </a:p>
                  </a:txBody>
                  <a:tcPr marL="27432" marR="27432" marT="27432" marB="27432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0</a:t>
                      </a:r>
                    </a:p>
                  </a:txBody>
                  <a:tcPr marL="27432" marR="27432" marT="27432" marB="27432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0</a:t>
                      </a:r>
                    </a:p>
                  </a:txBody>
                  <a:tcPr marL="27432" marR="27432" marT="27432" marB="27432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50</a:t>
                      </a:r>
                    </a:p>
                  </a:txBody>
                  <a:tcPr marL="27432" marR="27432" marT="27432" marB="27432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03900370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u="none" strike="noStrike" noProof="0" dirty="0">
                          <a:effectLst/>
                          <a:latin typeface="+mn-lt"/>
                        </a:rPr>
                        <a:t>Rating (hp)  460V</a:t>
                      </a:r>
                      <a:r>
                        <a:rPr lang="en-US" sz="900" b="1" u="none" strike="noStrike" noProof="0">
                          <a:effectLst/>
                          <a:latin typeface="+mn-lt"/>
                        </a:rPr>
                        <a:t>, 575V</a:t>
                      </a:r>
                      <a:endParaRPr lang="en-US" sz="900" b="1" i="0" u="none" strike="noStrike" noProof="0" dirty="0">
                        <a:solidFill>
                          <a:schemeClr val="accent1"/>
                        </a:solidFill>
                        <a:effectLst/>
                        <a:latin typeface="+mn-lt"/>
                      </a:endParaRPr>
                    </a:p>
                  </a:txBody>
                  <a:tcPr marL="27432" marR="27432" marT="27432" marB="27432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noProof="0" dirty="0">
                          <a:effectLst/>
                          <a:latin typeface="+mn-lt"/>
                        </a:rPr>
                        <a:t>2</a:t>
                      </a:r>
                      <a:endParaRPr lang="en-US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432" marR="27432" marT="27432" marB="27432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noProof="0" dirty="0">
                          <a:effectLst/>
                          <a:latin typeface="+mn-lt"/>
                        </a:rPr>
                        <a:t>5</a:t>
                      </a:r>
                      <a:endParaRPr lang="en-US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432" marR="27432" marT="27432" marB="27432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noProof="0" dirty="0">
                          <a:effectLst/>
                          <a:latin typeface="+mn-lt"/>
                        </a:rPr>
                        <a:t>10</a:t>
                      </a:r>
                      <a:endParaRPr lang="en-US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432" marR="27432" marT="27432" marB="27432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</a:t>
                      </a:r>
                    </a:p>
                  </a:txBody>
                  <a:tcPr marL="27432" marR="27432" marT="27432" marB="27432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noProof="0" dirty="0">
                          <a:effectLst/>
                          <a:latin typeface="+mn-lt"/>
                        </a:rPr>
                        <a:t>50</a:t>
                      </a:r>
                      <a:endParaRPr lang="en-US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432" marR="27432" marT="27432" marB="27432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noProof="0" dirty="0">
                          <a:effectLst/>
                          <a:latin typeface="+mn-lt"/>
                        </a:rPr>
                        <a:t>100</a:t>
                      </a:r>
                      <a:endParaRPr lang="en-US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432" marR="27432" marT="27432" marB="27432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noProof="0" dirty="0">
                          <a:effectLst/>
                          <a:latin typeface="+mn-lt"/>
                        </a:rPr>
                        <a:t>200</a:t>
                      </a:r>
                      <a:endParaRPr lang="en-US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432" marR="27432" marT="27432" marB="27432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00</a:t>
                      </a:r>
                    </a:p>
                  </a:txBody>
                  <a:tcPr marL="27432" marR="27432" marT="27432" marB="27432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noProof="0" dirty="0">
                          <a:effectLst/>
                          <a:latin typeface="+mn-lt"/>
                        </a:rPr>
                        <a:t>600</a:t>
                      </a:r>
                      <a:endParaRPr lang="en-US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432" marR="27432" marT="27432" marB="27432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00</a:t>
                      </a:r>
                    </a:p>
                  </a:txBody>
                  <a:tcPr marL="27432" marR="27432" marT="27432" marB="27432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 noProof="0" dirty="0">
                          <a:solidFill>
                            <a:schemeClr val="accent1"/>
                          </a:solidFill>
                          <a:effectLst/>
                          <a:latin typeface="+mn-lt"/>
                        </a:rPr>
                        <a:t>Width (mm)</a:t>
                      </a:r>
                    </a:p>
                  </a:txBody>
                  <a:tcPr marL="27432" marR="27432" marT="27432" marB="27432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noProof="0" dirty="0">
                          <a:effectLst/>
                          <a:latin typeface="+mn-lt"/>
                        </a:rPr>
                        <a:t>45</a:t>
                      </a:r>
                      <a:endParaRPr lang="en-US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432" marR="27432" marT="27432" marB="27432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0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432" marR="27432" marT="27432" marB="27432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0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432" marR="27432" marT="27432" marB="27432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noProof="0" dirty="0">
                          <a:effectLst/>
                          <a:latin typeface="+mn-lt"/>
                        </a:rPr>
                        <a:t>55</a:t>
                      </a:r>
                      <a:endParaRPr lang="en-US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432" marR="27432" marT="27432" marB="27432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noProof="0" dirty="0">
                          <a:effectLst/>
                          <a:latin typeface="+mn-lt"/>
                        </a:rPr>
                        <a:t>70</a:t>
                      </a:r>
                      <a:endParaRPr lang="en-US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432" marR="27432" marT="27432" marB="27432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noProof="0" dirty="0">
                          <a:effectLst/>
                          <a:latin typeface="+mn-lt"/>
                        </a:rPr>
                        <a:t>90</a:t>
                      </a:r>
                      <a:endParaRPr lang="en-US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432" marR="27432" marT="27432" marB="27432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noProof="0" dirty="0">
                          <a:effectLst/>
                          <a:latin typeface="+mn-lt"/>
                        </a:rPr>
                        <a:t>140</a:t>
                      </a:r>
                      <a:endParaRPr lang="en-US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432" marR="27432" marT="27432" marB="27432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noProof="0" dirty="0">
                          <a:effectLst/>
                          <a:latin typeface="+mn-lt"/>
                        </a:rPr>
                        <a:t>190</a:t>
                      </a:r>
                      <a:endParaRPr lang="en-US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432" marR="27432" marT="27432" marB="27432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noProof="0" dirty="0">
                          <a:effectLst/>
                          <a:latin typeface="+mn-lt"/>
                        </a:rPr>
                        <a:t>210</a:t>
                      </a:r>
                      <a:endParaRPr lang="en-US" sz="9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432" marR="27432" marT="27432" marB="27432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38</a:t>
                      </a:r>
                    </a:p>
                  </a:txBody>
                  <a:tcPr marL="27432" marR="27432" marT="27432" marB="27432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pic>
        <p:nvPicPr>
          <p:cNvPr id="46" name="Image 20">
            <a:extLst>
              <a:ext uri="{FF2B5EF4-FFF2-40B4-BE49-F238E27FC236}">
                <a16:creationId xmlns:a16="http://schemas.microsoft.com/office/drawing/2014/main" id="{9131417F-4A18-4236-98C2-4ABF06938782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205"/>
          <a:stretch/>
        </p:blipFill>
        <p:spPr>
          <a:xfrm>
            <a:off x="6246580" y="4862610"/>
            <a:ext cx="432000" cy="613291"/>
          </a:xfrm>
          <a:prstGeom prst="rect">
            <a:avLst/>
          </a:prstGeom>
        </p:spPr>
      </p:pic>
      <p:pic>
        <p:nvPicPr>
          <p:cNvPr id="47" name="Image 21">
            <a:extLst>
              <a:ext uri="{FF2B5EF4-FFF2-40B4-BE49-F238E27FC236}">
                <a16:creationId xmlns:a16="http://schemas.microsoft.com/office/drawing/2014/main" id="{75A7540F-8700-425E-ABDA-8EA47210B76B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5311"/>
          <a:stretch/>
        </p:blipFill>
        <p:spPr>
          <a:xfrm>
            <a:off x="6889781" y="4989708"/>
            <a:ext cx="612000" cy="486193"/>
          </a:xfrm>
          <a:prstGeom prst="rect">
            <a:avLst/>
          </a:prstGeom>
        </p:spPr>
      </p:pic>
      <p:pic>
        <p:nvPicPr>
          <p:cNvPr id="48" name="Image 23">
            <a:extLst>
              <a:ext uri="{FF2B5EF4-FFF2-40B4-BE49-F238E27FC236}">
                <a16:creationId xmlns:a16="http://schemas.microsoft.com/office/drawing/2014/main" id="{51D3BEB5-9DEE-4F43-AD70-8C05F81CCDC8}"/>
              </a:ext>
            </a:extLst>
          </p:cNvPr>
          <p:cNvPicPr>
            <a:picLocks noChangeAspect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276"/>
          <a:stretch/>
        </p:blipFill>
        <p:spPr>
          <a:xfrm>
            <a:off x="7587051" y="5020429"/>
            <a:ext cx="612000" cy="455472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6B329162-057E-44AB-9F5E-7E2E39FA74D9}"/>
              </a:ext>
            </a:extLst>
          </p:cNvPr>
          <p:cNvPicPr>
            <a:picLocks noChangeAspect="1"/>
          </p:cNvPicPr>
          <p:nvPr/>
        </p:nvPicPr>
        <p:blipFill rotWithShape="1">
          <a:blip r:embed="rId15"/>
          <a:srcRect t="13766" b="28288"/>
          <a:stretch/>
        </p:blipFill>
        <p:spPr>
          <a:xfrm>
            <a:off x="8248569" y="4862610"/>
            <a:ext cx="756000" cy="613291"/>
          </a:xfrm>
          <a:prstGeom prst="rect">
            <a:avLst/>
          </a:prstGeom>
        </p:spPr>
      </p:pic>
      <p:pic>
        <p:nvPicPr>
          <p:cNvPr id="50" name="Image 15">
            <a:extLst>
              <a:ext uri="{FF2B5EF4-FFF2-40B4-BE49-F238E27FC236}">
                <a16:creationId xmlns:a16="http://schemas.microsoft.com/office/drawing/2014/main" id="{281D6CC7-0D65-48CF-89D3-8C794F609213}"/>
              </a:ext>
            </a:extLst>
          </p:cNvPr>
          <p:cNvPicPr>
            <a:picLocks noChangeAspect="1"/>
          </p:cNvPicPr>
          <p:nvPr/>
        </p:nvPicPr>
        <p:blipFill>
          <a:blip r:embed="rId16"/>
          <a:srcRect/>
          <a:stretch/>
        </p:blipFill>
        <p:spPr>
          <a:xfrm>
            <a:off x="2338914" y="1941235"/>
            <a:ext cx="304168" cy="423566"/>
          </a:xfrm>
          <a:prstGeom prst="rect">
            <a:avLst/>
          </a:prstGeom>
        </p:spPr>
      </p:pic>
      <p:pic>
        <p:nvPicPr>
          <p:cNvPr id="51" name="Image 16">
            <a:extLst>
              <a:ext uri="{FF2B5EF4-FFF2-40B4-BE49-F238E27FC236}">
                <a16:creationId xmlns:a16="http://schemas.microsoft.com/office/drawing/2014/main" id="{4EEC5470-46F8-4D90-AF73-7ACB3FFB34CC}"/>
              </a:ext>
            </a:extLst>
          </p:cNvPr>
          <p:cNvPicPr>
            <a:picLocks noChangeAspect="1"/>
          </p:cNvPicPr>
          <p:nvPr/>
        </p:nvPicPr>
        <p:blipFill>
          <a:blip r:embed="rId17"/>
          <a:srcRect/>
          <a:stretch/>
        </p:blipFill>
        <p:spPr>
          <a:xfrm>
            <a:off x="3225476" y="1895383"/>
            <a:ext cx="380787" cy="469418"/>
          </a:xfrm>
          <a:prstGeom prst="rect">
            <a:avLst/>
          </a:prstGeom>
        </p:spPr>
      </p:pic>
      <p:pic>
        <p:nvPicPr>
          <p:cNvPr id="52" name="Image 17">
            <a:extLst>
              <a:ext uri="{FF2B5EF4-FFF2-40B4-BE49-F238E27FC236}">
                <a16:creationId xmlns:a16="http://schemas.microsoft.com/office/drawing/2014/main" id="{B659A335-1575-481D-AB38-A4DBF66B0C23}"/>
              </a:ext>
            </a:extLst>
          </p:cNvPr>
          <p:cNvPicPr>
            <a:picLocks noChangeAspect="1"/>
          </p:cNvPicPr>
          <p:nvPr/>
        </p:nvPicPr>
        <p:blipFill>
          <a:blip r:embed="rId18"/>
          <a:srcRect/>
          <a:stretch/>
        </p:blipFill>
        <p:spPr>
          <a:xfrm>
            <a:off x="3989511" y="1773936"/>
            <a:ext cx="381521" cy="617535"/>
          </a:xfrm>
          <a:prstGeom prst="rect">
            <a:avLst/>
          </a:prstGeom>
        </p:spPr>
      </p:pic>
      <p:pic>
        <p:nvPicPr>
          <p:cNvPr id="53" name="Image 18">
            <a:extLst>
              <a:ext uri="{FF2B5EF4-FFF2-40B4-BE49-F238E27FC236}">
                <a16:creationId xmlns:a16="http://schemas.microsoft.com/office/drawing/2014/main" id="{951472B8-92A4-4C55-B61F-E0DAE20004E8}"/>
              </a:ext>
            </a:extLst>
          </p:cNvPr>
          <p:cNvPicPr>
            <a:picLocks noChangeAspect="1"/>
          </p:cNvPicPr>
          <p:nvPr/>
        </p:nvPicPr>
        <p:blipFill>
          <a:blip r:embed="rId19"/>
          <a:srcRect/>
          <a:stretch/>
        </p:blipFill>
        <p:spPr>
          <a:xfrm>
            <a:off x="4672399" y="1732560"/>
            <a:ext cx="463257" cy="632241"/>
          </a:xfrm>
          <a:prstGeom prst="rect">
            <a:avLst/>
          </a:prstGeom>
        </p:spPr>
      </p:pic>
      <p:pic>
        <p:nvPicPr>
          <p:cNvPr id="54" name="Image 19">
            <a:extLst>
              <a:ext uri="{FF2B5EF4-FFF2-40B4-BE49-F238E27FC236}">
                <a16:creationId xmlns:a16="http://schemas.microsoft.com/office/drawing/2014/main" id="{D84FE4E3-D9C6-46BD-A064-90B31533EA49}"/>
              </a:ext>
            </a:extLst>
          </p:cNvPr>
          <p:cNvPicPr>
            <a:picLocks noChangeAspect="1"/>
          </p:cNvPicPr>
          <p:nvPr/>
        </p:nvPicPr>
        <p:blipFill>
          <a:blip r:embed="rId20"/>
          <a:srcRect/>
          <a:stretch/>
        </p:blipFill>
        <p:spPr>
          <a:xfrm>
            <a:off x="5398321" y="1632808"/>
            <a:ext cx="574407" cy="731993"/>
          </a:xfrm>
          <a:prstGeom prst="rect">
            <a:avLst/>
          </a:prstGeom>
        </p:spPr>
      </p:pic>
      <p:pic>
        <p:nvPicPr>
          <p:cNvPr id="55" name="Image 23">
            <a:extLst>
              <a:ext uri="{FF2B5EF4-FFF2-40B4-BE49-F238E27FC236}">
                <a16:creationId xmlns:a16="http://schemas.microsoft.com/office/drawing/2014/main" id="{74A24B3D-5666-4663-83C1-DBD5EB2B9E62}"/>
              </a:ext>
            </a:extLst>
          </p:cNvPr>
          <p:cNvPicPr>
            <a:picLocks noChangeAspect="1"/>
          </p:cNvPicPr>
          <p:nvPr/>
        </p:nvPicPr>
        <p:blipFill>
          <a:blip r:embed="rId21"/>
          <a:srcRect/>
          <a:stretch/>
        </p:blipFill>
        <p:spPr>
          <a:xfrm>
            <a:off x="6165925" y="1588485"/>
            <a:ext cx="595280" cy="776316"/>
          </a:xfrm>
          <a:prstGeom prst="rect">
            <a:avLst/>
          </a:prstGeom>
        </p:spPr>
      </p:pic>
      <p:pic>
        <p:nvPicPr>
          <p:cNvPr id="56" name="Image 24">
            <a:extLst>
              <a:ext uri="{FF2B5EF4-FFF2-40B4-BE49-F238E27FC236}">
                <a16:creationId xmlns:a16="http://schemas.microsoft.com/office/drawing/2014/main" id="{1EA2693C-7DAD-4646-80B7-75269708817E}"/>
              </a:ext>
            </a:extLst>
          </p:cNvPr>
          <p:cNvPicPr>
            <a:picLocks noChangeAspect="1"/>
          </p:cNvPicPr>
          <p:nvPr/>
        </p:nvPicPr>
        <p:blipFill>
          <a:blip r:embed="rId22"/>
          <a:srcRect/>
          <a:stretch/>
        </p:blipFill>
        <p:spPr>
          <a:xfrm>
            <a:off x="7175261" y="1517129"/>
            <a:ext cx="675962" cy="847672"/>
          </a:xfrm>
          <a:prstGeom prst="rect">
            <a:avLst/>
          </a:prstGeom>
        </p:spPr>
      </p:pic>
      <p:pic>
        <p:nvPicPr>
          <p:cNvPr id="57" name="Image 25">
            <a:extLst>
              <a:ext uri="{FF2B5EF4-FFF2-40B4-BE49-F238E27FC236}">
                <a16:creationId xmlns:a16="http://schemas.microsoft.com/office/drawing/2014/main" id="{D78418CC-4E5F-4401-9D07-5644A119B367}"/>
              </a:ext>
            </a:extLst>
          </p:cNvPr>
          <p:cNvPicPr>
            <a:picLocks noChangeAspect="1"/>
          </p:cNvPicPr>
          <p:nvPr/>
        </p:nvPicPr>
        <p:blipFill>
          <a:blip r:embed="rId23"/>
          <a:srcRect/>
          <a:stretch/>
        </p:blipFill>
        <p:spPr>
          <a:xfrm>
            <a:off x="8026237" y="1476778"/>
            <a:ext cx="965423" cy="8880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8765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rmal overload relays 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lvl="8"/>
            <a:r>
              <a:rPr lang="en-US" baseline="30000" dirty="0"/>
              <a:t>1</a:t>
            </a:r>
            <a:r>
              <a:rPr lang="en-US" dirty="0"/>
              <a:t> TF140DU Designed with TA… technology 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8F8FF341-9601-47A6-A4C1-F2885A66BAA5}" type="datetime4">
              <a:rPr lang="en-US" smtClean="0"/>
              <a:t>December 14, 2020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/>
        <p:txBody>
          <a:bodyPr lIns="27432" rIns="27432"/>
          <a:lstStyle/>
          <a:p>
            <a:pPr marL="228600" lvl="1" indent="-228600">
              <a:spcAft>
                <a:spcPts val="600"/>
              </a:spcAft>
            </a:pPr>
            <a:r>
              <a:rPr lang="en-US" dirty="0"/>
              <a:t>TF.. Series based on new technology</a:t>
            </a:r>
            <a:r>
              <a:rPr lang="en-US" baseline="30000" dirty="0"/>
              <a:t>1</a:t>
            </a:r>
          </a:p>
          <a:p>
            <a:pPr marL="228600" lvl="1" indent="-228600">
              <a:spcAft>
                <a:spcPts val="600"/>
              </a:spcAft>
            </a:pPr>
            <a:r>
              <a:rPr lang="en-US" dirty="0"/>
              <a:t>Trip Class 10</a:t>
            </a:r>
          </a:p>
          <a:p>
            <a:pPr marL="228600" lvl="1" indent="-228600">
              <a:spcAft>
                <a:spcPts val="600"/>
              </a:spcAft>
            </a:pPr>
            <a:r>
              <a:rPr lang="en-US" dirty="0"/>
              <a:t>Operating temp. range -25 </a:t>
            </a:r>
            <a:r>
              <a:rPr lang="en-US" b="1" dirty="0"/>
              <a:t>up to 60°C</a:t>
            </a:r>
          </a:p>
          <a:p>
            <a:pPr marL="228600" lvl="1" indent="-228600">
              <a:spcAft>
                <a:spcPts val="600"/>
              </a:spcAft>
            </a:pPr>
            <a:r>
              <a:rPr lang="en-US" dirty="0"/>
              <a:t>Manual/ automatic reset selectable</a:t>
            </a:r>
          </a:p>
          <a:p>
            <a:pPr marL="228600" lvl="1" indent="-228600">
              <a:spcAft>
                <a:spcPts val="600"/>
              </a:spcAft>
            </a:pPr>
            <a:r>
              <a:rPr lang="en-US" dirty="0"/>
              <a:t>Test function</a:t>
            </a:r>
          </a:p>
          <a:p>
            <a:pPr marL="228600" lvl="1" indent="-228600">
              <a:spcAft>
                <a:spcPts val="600"/>
              </a:spcAft>
            </a:pPr>
            <a:r>
              <a:rPr lang="en-US" b="1" dirty="0"/>
              <a:t>Separate STOP button</a:t>
            </a:r>
          </a:p>
          <a:p>
            <a:pPr marL="228600" lvl="1" indent="-228600">
              <a:spcAft>
                <a:spcPts val="600"/>
              </a:spcAft>
            </a:pPr>
            <a:r>
              <a:rPr lang="en-US" b="1" dirty="0"/>
              <a:t>Sealable cover for</a:t>
            </a:r>
            <a:r>
              <a:rPr lang="en-US" dirty="0"/>
              <a:t> current setting, reset selection and test function </a:t>
            </a:r>
          </a:p>
          <a:p>
            <a:pPr marL="228600" lvl="1" indent="-228600">
              <a:spcAft>
                <a:spcPts val="600"/>
              </a:spcAft>
            </a:pPr>
            <a:r>
              <a:rPr lang="en-US" b="1" dirty="0"/>
              <a:t>Perfect match to the contactor</a:t>
            </a:r>
          </a:p>
          <a:p>
            <a:pPr marL="228600" lvl="1" indent="-228600">
              <a:spcAft>
                <a:spcPts val="600"/>
              </a:spcAft>
            </a:pPr>
            <a:r>
              <a:rPr lang="en-US" dirty="0"/>
              <a:t>Also available: ATEX certified types and kits for separate mounting</a:t>
            </a:r>
          </a:p>
        </p:txBody>
      </p:sp>
      <p:sp>
        <p:nvSpPr>
          <p:cNvPr id="8" name="Subtitle 7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US" dirty="0"/>
              <a:t>Basics TF series</a:t>
            </a:r>
          </a:p>
        </p:txBody>
      </p:sp>
      <p:pic>
        <p:nvPicPr>
          <p:cNvPr id="11" name="Grafik 5" descr="1SBC101326F0010_720.jp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1463"/>
          <a:stretch/>
        </p:blipFill>
        <p:spPr bwMode="auto">
          <a:xfrm>
            <a:off x="4687644" y="1931194"/>
            <a:ext cx="1974714" cy="27261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 Box 6"/>
          <p:cNvSpPr txBox="1">
            <a:spLocks noChangeArrowheads="1"/>
          </p:cNvSpPr>
          <p:nvPr/>
        </p:nvSpPr>
        <p:spPr bwMode="auto">
          <a:xfrm>
            <a:off x="7497002" y="2697967"/>
            <a:ext cx="130324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folHlink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182563" indent="-182563" eaLnBrk="0" hangingPunct="0">
              <a:defRPr>
                <a:solidFill>
                  <a:srgbClr val="000000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rgbClr val="000000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rgbClr val="000000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rgbClr val="000000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rgbClr val="000000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defRPr>
                <a:solidFill>
                  <a:srgbClr val="000000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defRPr>
                <a:solidFill>
                  <a:srgbClr val="000000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defRPr>
                <a:solidFill>
                  <a:srgbClr val="000000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defRPr>
                <a:solidFill>
                  <a:srgbClr val="000000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sz="1400" dirty="0">
                <a:latin typeface="+mn-lt"/>
              </a:rPr>
              <a:t>Current setting</a:t>
            </a:r>
          </a:p>
        </p:txBody>
      </p:sp>
      <p:sp>
        <p:nvSpPr>
          <p:cNvPr id="13" name="Text Box 7"/>
          <p:cNvSpPr txBox="1">
            <a:spLocks noChangeArrowheads="1"/>
          </p:cNvSpPr>
          <p:nvPr/>
        </p:nvSpPr>
        <p:spPr bwMode="auto">
          <a:xfrm>
            <a:off x="7497002" y="3908235"/>
            <a:ext cx="110767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folHlink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182563" indent="-182563" eaLnBrk="0" hangingPunct="0">
              <a:defRPr>
                <a:solidFill>
                  <a:srgbClr val="000000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rgbClr val="000000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rgbClr val="000000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rgbClr val="000000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rgbClr val="000000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defRPr>
                <a:solidFill>
                  <a:srgbClr val="000000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defRPr>
                <a:solidFill>
                  <a:srgbClr val="000000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defRPr>
                <a:solidFill>
                  <a:srgbClr val="000000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defRPr>
                <a:solidFill>
                  <a:srgbClr val="000000"/>
                </a:solidFill>
                <a:latin typeface="Arial" charset="0"/>
              </a:defRPr>
            </a:lvl9pPr>
          </a:lstStyle>
          <a:p>
            <a:pPr algn="l" eaLnBrk="1" hangingPunct="1"/>
            <a:r>
              <a:rPr lang="en-US" sz="1400" dirty="0">
                <a:latin typeface="+mn-lt"/>
              </a:rPr>
              <a:t>Reset button</a:t>
            </a:r>
          </a:p>
        </p:txBody>
      </p:sp>
      <p:sp>
        <p:nvSpPr>
          <p:cNvPr id="14" name="Text Box 8"/>
          <p:cNvSpPr txBox="1">
            <a:spLocks noChangeArrowheads="1"/>
          </p:cNvSpPr>
          <p:nvPr/>
        </p:nvSpPr>
        <p:spPr bwMode="auto">
          <a:xfrm>
            <a:off x="7497002" y="5333944"/>
            <a:ext cx="1033937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folHlink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182563" indent="-182563" eaLnBrk="0" hangingPunct="0">
              <a:defRPr>
                <a:solidFill>
                  <a:srgbClr val="000000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rgbClr val="000000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rgbClr val="000000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rgbClr val="000000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rgbClr val="000000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defRPr>
                <a:solidFill>
                  <a:srgbClr val="000000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defRPr>
                <a:solidFill>
                  <a:srgbClr val="000000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defRPr>
                <a:solidFill>
                  <a:srgbClr val="000000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defRPr>
                <a:solidFill>
                  <a:srgbClr val="000000"/>
                </a:solidFill>
                <a:latin typeface="Arial" charset="0"/>
              </a:defRPr>
            </a:lvl9pPr>
          </a:lstStyle>
          <a:p>
            <a:pPr algn="l" eaLnBrk="1" hangingPunct="1"/>
            <a:r>
              <a:rPr lang="en-US" sz="1400" dirty="0">
                <a:latin typeface="+mn-lt"/>
              </a:rPr>
              <a:t>Stop button</a:t>
            </a:r>
          </a:p>
        </p:txBody>
      </p:sp>
      <p:sp>
        <p:nvSpPr>
          <p:cNvPr id="15" name="Text Box 9"/>
          <p:cNvSpPr txBox="1">
            <a:spLocks noChangeArrowheads="1"/>
          </p:cNvSpPr>
          <p:nvPr/>
        </p:nvSpPr>
        <p:spPr bwMode="auto">
          <a:xfrm>
            <a:off x="7497002" y="4513369"/>
            <a:ext cx="1075615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folHlink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182563" indent="-182563" eaLnBrk="0" hangingPunct="0">
              <a:defRPr>
                <a:solidFill>
                  <a:srgbClr val="000000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rgbClr val="000000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rgbClr val="000000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rgbClr val="000000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rgbClr val="000000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defRPr>
                <a:solidFill>
                  <a:srgbClr val="000000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defRPr>
                <a:solidFill>
                  <a:srgbClr val="000000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defRPr>
                <a:solidFill>
                  <a:srgbClr val="000000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defRPr>
                <a:solidFill>
                  <a:srgbClr val="000000"/>
                </a:solidFill>
                <a:latin typeface="Arial" charset="0"/>
              </a:defRPr>
            </a:lvl9pPr>
          </a:lstStyle>
          <a:p>
            <a:pPr marL="0" indent="0" algn="l" eaLnBrk="1" hangingPunct="1"/>
            <a:r>
              <a:rPr lang="en-US" sz="1400" dirty="0">
                <a:solidFill>
                  <a:schemeClr val="tx1"/>
                </a:solidFill>
                <a:latin typeface="+mn-lt"/>
              </a:rPr>
              <a:t>Test/ Status</a:t>
            </a:r>
            <a:br>
              <a:rPr lang="en-US" sz="1400" dirty="0">
                <a:solidFill>
                  <a:schemeClr val="tx1"/>
                </a:solidFill>
                <a:latin typeface="+mn-lt"/>
              </a:rPr>
            </a:br>
            <a:r>
              <a:rPr lang="en-US" sz="1400" dirty="0">
                <a:solidFill>
                  <a:schemeClr val="tx1"/>
                </a:solidFill>
                <a:latin typeface="+mn-lt"/>
              </a:rPr>
              <a:t>indication</a:t>
            </a:r>
          </a:p>
        </p:txBody>
      </p:sp>
      <p:sp>
        <p:nvSpPr>
          <p:cNvPr id="20" name="Text Box 15"/>
          <p:cNvSpPr txBox="1">
            <a:spLocks noChangeArrowheads="1"/>
          </p:cNvSpPr>
          <p:nvPr/>
        </p:nvSpPr>
        <p:spPr bwMode="auto">
          <a:xfrm>
            <a:off x="7497002" y="2092833"/>
            <a:ext cx="69089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folHlink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182563" indent="-182563" eaLnBrk="0" hangingPunct="0">
              <a:defRPr>
                <a:solidFill>
                  <a:srgbClr val="000000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rgbClr val="000000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rgbClr val="000000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rgbClr val="000000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rgbClr val="000000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defRPr>
                <a:solidFill>
                  <a:srgbClr val="000000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defRPr>
                <a:solidFill>
                  <a:srgbClr val="000000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defRPr>
                <a:solidFill>
                  <a:srgbClr val="000000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defRPr>
                <a:solidFill>
                  <a:srgbClr val="000000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sz="1400" dirty="0">
                <a:latin typeface="+mn-lt"/>
              </a:rPr>
              <a:t>Marking</a:t>
            </a:r>
          </a:p>
        </p:txBody>
      </p:sp>
      <p:sp>
        <p:nvSpPr>
          <p:cNvPr id="23" name="Text Box 7"/>
          <p:cNvSpPr txBox="1">
            <a:spLocks noChangeArrowheads="1"/>
          </p:cNvSpPr>
          <p:nvPr/>
        </p:nvSpPr>
        <p:spPr bwMode="auto">
          <a:xfrm>
            <a:off x="7497002" y="3181895"/>
            <a:ext cx="127438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folHlink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182563" indent="-182563" eaLnBrk="0" hangingPunct="0">
              <a:defRPr>
                <a:solidFill>
                  <a:srgbClr val="000000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rgbClr val="000000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rgbClr val="000000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rgbClr val="000000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rgbClr val="000000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defRPr>
                <a:solidFill>
                  <a:srgbClr val="000000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defRPr>
                <a:solidFill>
                  <a:srgbClr val="000000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defRPr>
                <a:solidFill>
                  <a:srgbClr val="000000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defRPr>
                <a:solidFill>
                  <a:srgbClr val="000000"/>
                </a:solidFill>
                <a:latin typeface="Arial" charset="0"/>
              </a:defRPr>
            </a:lvl9pPr>
          </a:lstStyle>
          <a:p>
            <a:pPr algn="l" eaLnBrk="1" hangingPunct="1"/>
            <a:r>
              <a:rPr lang="en-US" sz="1400" dirty="0">
                <a:latin typeface="+mn-lt"/>
              </a:rPr>
              <a:t>Cover, sealable</a:t>
            </a:r>
          </a:p>
        </p:txBody>
      </p:sp>
      <p:sp>
        <p:nvSpPr>
          <p:cNvPr id="25" name="Freeform 12">
            <a:extLst>
              <a:ext uri="{FF2B5EF4-FFF2-40B4-BE49-F238E27FC236}">
                <a16:creationId xmlns:a16="http://schemas.microsoft.com/office/drawing/2014/main" id="{BB7F327B-30F6-4AC1-A953-E0E3A9070047}"/>
              </a:ext>
            </a:extLst>
          </p:cNvPr>
          <p:cNvSpPr>
            <a:spLocks/>
          </p:cNvSpPr>
          <p:nvPr/>
        </p:nvSpPr>
        <p:spPr bwMode="auto">
          <a:xfrm>
            <a:off x="5743640" y="3890518"/>
            <a:ext cx="1655064" cy="1536192"/>
          </a:xfrm>
          <a:custGeom>
            <a:avLst/>
            <a:gdLst>
              <a:gd name="T0" fmla="*/ 0 w 457"/>
              <a:gd name="T1" fmla="*/ 0 h 284"/>
              <a:gd name="T2" fmla="*/ 0 w 457"/>
              <a:gd name="T3" fmla="*/ 261 h 284"/>
              <a:gd name="T4" fmla="*/ 24 w 457"/>
              <a:gd name="T5" fmla="*/ 284 h 284"/>
              <a:gd name="T6" fmla="*/ 457 w 457"/>
              <a:gd name="T7" fmla="*/ 284 h 2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57" h="284">
                <a:moveTo>
                  <a:pt x="0" y="0"/>
                </a:moveTo>
                <a:cubicBezTo>
                  <a:pt x="0" y="261"/>
                  <a:pt x="0" y="261"/>
                  <a:pt x="0" y="261"/>
                </a:cubicBezTo>
                <a:cubicBezTo>
                  <a:pt x="0" y="274"/>
                  <a:pt x="11" y="284"/>
                  <a:pt x="24" y="284"/>
                </a:cubicBezTo>
                <a:cubicBezTo>
                  <a:pt x="457" y="284"/>
                  <a:pt x="457" y="284"/>
                  <a:pt x="457" y="284"/>
                </a:cubicBezTo>
              </a:path>
            </a:pathLst>
          </a:custGeom>
          <a:noFill/>
          <a:ln w="19050" cap="flat">
            <a:solidFill>
              <a:srgbClr val="FF000F"/>
            </a:solidFill>
            <a:prstDash val="solid"/>
            <a:miter lim="800000"/>
            <a:headEnd type="oval" w="med" len="med"/>
            <a:tailEnd type="none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8" name="Freeform 12">
            <a:extLst>
              <a:ext uri="{FF2B5EF4-FFF2-40B4-BE49-F238E27FC236}">
                <a16:creationId xmlns:a16="http://schemas.microsoft.com/office/drawing/2014/main" id="{BB7F327B-30F6-4AC1-A953-E0E3A9070047}"/>
              </a:ext>
            </a:extLst>
          </p:cNvPr>
          <p:cNvSpPr>
            <a:spLocks/>
          </p:cNvSpPr>
          <p:nvPr/>
        </p:nvSpPr>
        <p:spPr bwMode="auto">
          <a:xfrm>
            <a:off x="6109400" y="3740150"/>
            <a:ext cx="1289304" cy="868680"/>
          </a:xfrm>
          <a:custGeom>
            <a:avLst/>
            <a:gdLst>
              <a:gd name="T0" fmla="*/ 0 w 457"/>
              <a:gd name="T1" fmla="*/ 0 h 284"/>
              <a:gd name="T2" fmla="*/ 0 w 457"/>
              <a:gd name="T3" fmla="*/ 261 h 284"/>
              <a:gd name="T4" fmla="*/ 24 w 457"/>
              <a:gd name="T5" fmla="*/ 284 h 284"/>
              <a:gd name="T6" fmla="*/ 457 w 457"/>
              <a:gd name="T7" fmla="*/ 284 h 2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57" h="284">
                <a:moveTo>
                  <a:pt x="0" y="0"/>
                </a:moveTo>
                <a:cubicBezTo>
                  <a:pt x="0" y="261"/>
                  <a:pt x="0" y="261"/>
                  <a:pt x="0" y="261"/>
                </a:cubicBezTo>
                <a:cubicBezTo>
                  <a:pt x="0" y="274"/>
                  <a:pt x="11" y="284"/>
                  <a:pt x="24" y="284"/>
                </a:cubicBezTo>
                <a:cubicBezTo>
                  <a:pt x="457" y="284"/>
                  <a:pt x="457" y="284"/>
                  <a:pt x="457" y="284"/>
                </a:cubicBezTo>
              </a:path>
            </a:pathLst>
          </a:custGeom>
          <a:noFill/>
          <a:ln w="19050" cap="flat">
            <a:solidFill>
              <a:srgbClr val="FF000F"/>
            </a:solidFill>
            <a:prstDash val="solid"/>
            <a:miter lim="800000"/>
            <a:headEnd type="oval" w="med" len="med"/>
            <a:tailEnd type="none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2" name="Freeform 12">
            <a:extLst>
              <a:ext uri="{FF2B5EF4-FFF2-40B4-BE49-F238E27FC236}">
                <a16:creationId xmlns:a16="http://schemas.microsoft.com/office/drawing/2014/main" id="{BB7F327B-30F6-4AC1-A953-E0E3A9070047}"/>
              </a:ext>
            </a:extLst>
          </p:cNvPr>
          <p:cNvSpPr>
            <a:spLocks/>
          </p:cNvSpPr>
          <p:nvPr/>
        </p:nvSpPr>
        <p:spPr bwMode="auto">
          <a:xfrm>
            <a:off x="6557456" y="3690366"/>
            <a:ext cx="841248" cy="329184"/>
          </a:xfrm>
          <a:custGeom>
            <a:avLst/>
            <a:gdLst>
              <a:gd name="T0" fmla="*/ 0 w 457"/>
              <a:gd name="T1" fmla="*/ 0 h 284"/>
              <a:gd name="T2" fmla="*/ 0 w 457"/>
              <a:gd name="T3" fmla="*/ 261 h 284"/>
              <a:gd name="T4" fmla="*/ 24 w 457"/>
              <a:gd name="T5" fmla="*/ 284 h 284"/>
              <a:gd name="T6" fmla="*/ 457 w 457"/>
              <a:gd name="T7" fmla="*/ 284 h 2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57" h="284">
                <a:moveTo>
                  <a:pt x="0" y="0"/>
                </a:moveTo>
                <a:cubicBezTo>
                  <a:pt x="0" y="261"/>
                  <a:pt x="0" y="261"/>
                  <a:pt x="0" y="261"/>
                </a:cubicBezTo>
                <a:cubicBezTo>
                  <a:pt x="0" y="274"/>
                  <a:pt x="11" y="284"/>
                  <a:pt x="24" y="284"/>
                </a:cubicBezTo>
                <a:cubicBezTo>
                  <a:pt x="457" y="284"/>
                  <a:pt x="457" y="284"/>
                  <a:pt x="457" y="284"/>
                </a:cubicBezTo>
              </a:path>
            </a:pathLst>
          </a:custGeom>
          <a:noFill/>
          <a:ln w="19050" cap="flat">
            <a:solidFill>
              <a:srgbClr val="FF000F"/>
            </a:solidFill>
            <a:prstDash val="solid"/>
            <a:miter lim="800000"/>
            <a:headEnd type="oval" w="med" len="med"/>
            <a:tailEnd type="none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7" name="Freeform 12">
            <a:extLst>
              <a:ext uri="{FF2B5EF4-FFF2-40B4-BE49-F238E27FC236}">
                <a16:creationId xmlns:a16="http://schemas.microsoft.com/office/drawing/2014/main" id="{BB7F327B-30F6-4AC1-A953-E0E3A9070047}"/>
              </a:ext>
            </a:extLst>
          </p:cNvPr>
          <p:cNvSpPr>
            <a:spLocks/>
          </p:cNvSpPr>
          <p:nvPr/>
        </p:nvSpPr>
        <p:spPr bwMode="auto">
          <a:xfrm>
            <a:off x="6612320" y="3304947"/>
            <a:ext cx="786384" cy="0"/>
          </a:xfrm>
          <a:custGeom>
            <a:avLst/>
            <a:gdLst>
              <a:gd name="T0" fmla="*/ 0 w 457"/>
              <a:gd name="T1" fmla="*/ 0 h 284"/>
              <a:gd name="T2" fmla="*/ 0 w 457"/>
              <a:gd name="T3" fmla="*/ 261 h 284"/>
              <a:gd name="T4" fmla="*/ 24 w 457"/>
              <a:gd name="T5" fmla="*/ 284 h 284"/>
              <a:gd name="T6" fmla="*/ 457 w 457"/>
              <a:gd name="T7" fmla="*/ 284 h 2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57" h="284">
                <a:moveTo>
                  <a:pt x="0" y="0"/>
                </a:moveTo>
                <a:cubicBezTo>
                  <a:pt x="0" y="261"/>
                  <a:pt x="0" y="261"/>
                  <a:pt x="0" y="261"/>
                </a:cubicBezTo>
                <a:cubicBezTo>
                  <a:pt x="0" y="274"/>
                  <a:pt x="11" y="284"/>
                  <a:pt x="24" y="284"/>
                </a:cubicBezTo>
                <a:cubicBezTo>
                  <a:pt x="457" y="284"/>
                  <a:pt x="457" y="284"/>
                  <a:pt x="457" y="284"/>
                </a:cubicBezTo>
              </a:path>
            </a:pathLst>
          </a:custGeom>
          <a:noFill/>
          <a:ln w="19050" cap="flat">
            <a:solidFill>
              <a:srgbClr val="FF000F"/>
            </a:solidFill>
            <a:prstDash val="solid"/>
            <a:miter lim="800000"/>
            <a:headEnd type="oval" w="med" len="med"/>
            <a:tailEnd type="none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9" name="Freeform 12">
            <a:extLst>
              <a:ext uri="{FF2B5EF4-FFF2-40B4-BE49-F238E27FC236}">
                <a16:creationId xmlns:a16="http://schemas.microsoft.com/office/drawing/2014/main" id="{BB7F327B-30F6-4AC1-A953-E0E3A9070047}"/>
              </a:ext>
            </a:extLst>
          </p:cNvPr>
          <p:cNvSpPr>
            <a:spLocks/>
          </p:cNvSpPr>
          <p:nvPr/>
        </p:nvSpPr>
        <p:spPr bwMode="auto">
          <a:xfrm flipV="1">
            <a:off x="6347144" y="2792194"/>
            <a:ext cx="1051560" cy="548640"/>
          </a:xfrm>
          <a:custGeom>
            <a:avLst/>
            <a:gdLst>
              <a:gd name="T0" fmla="*/ 0 w 457"/>
              <a:gd name="T1" fmla="*/ 0 h 284"/>
              <a:gd name="T2" fmla="*/ 0 w 457"/>
              <a:gd name="T3" fmla="*/ 261 h 284"/>
              <a:gd name="T4" fmla="*/ 24 w 457"/>
              <a:gd name="T5" fmla="*/ 284 h 284"/>
              <a:gd name="T6" fmla="*/ 457 w 457"/>
              <a:gd name="T7" fmla="*/ 284 h 2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57" h="284">
                <a:moveTo>
                  <a:pt x="0" y="0"/>
                </a:moveTo>
                <a:cubicBezTo>
                  <a:pt x="0" y="261"/>
                  <a:pt x="0" y="261"/>
                  <a:pt x="0" y="261"/>
                </a:cubicBezTo>
                <a:cubicBezTo>
                  <a:pt x="0" y="274"/>
                  <a:pt x="11" y="284"/>
                  <a:pt x="24" y="284"/>
                </a:cubicBezTo>
                <a:cubicBezTo>
                  <a:pt x="457" y="284"/>
                  <a:pt x="457" y="284"/>
                  <a:pt x="457" y="284"/>
                </a:cubicBezTo>
              </a:path>
            </a:pathLst>
          </a:custGeom>
          <a:noFill/>
          <a:ln w="19050" cap="flat">
            <a:solidFill>
              <a:srgbClr val="FF000F"/>
            </a:solidFill>
            <a:prstDash val="solid"/>
            <a:miter lim="800000"/>
            <a:headEnd type="oval" w="med" len="med"/>
            <a:tailEnd type="none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41" name="Freeform 12">
            <a:extLst>
              <a:ext uri="{FF2B5EF4-FFF2-40B4-BE49-F238E27FC236}">
                <a16:creationId xmlns:a16="http://schemas.microsoft.com/office/drawing/2014/main" id="{BB7F327B-30F6-4AC1-A953-E0E3A9070047}"/>
              </a:ext>
            </a:extLst>
          </p:cNvPr>
          <p:cNvSpPr>
            <a:spLocks/>
          </p:cNvSpPr>
          <p:nvPr/>
        </p:nvSpPr>
        <p:spPr bwMode="auto">
          <a:xfrm flipV="1">
            <a:off x="5835080" y="2222500"/>
            <a:ext cx="1563624" cy="1133856"/>
          </a:xfrm>
          <a:custGeom>
            <a:avLst/>
            <a:gdLst>
              <a:gd name="T0" fmla="*/ 0 w 457"/>
              <a:gd name="T1" fmla="*/ 0 h 284"/>
              <a:gd name="T2" fmla="*/ 0 w 457"/>
              <a:gd name="T3" fmla="*/ 261 h 284"/>
              <a:gd name="T4" fmla="*/ 24 w 457"/>
              <a:gd name="T5" fmla="*/ 284 h 284"/>
              <a:gd name="T6" fmla="*/ 457 w 457"/>
              <a:gd name="T7" fmla="*/ 284 h 2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57" h="284">
                <a:moveTo>
                  <a:pt x="0" y="0"/>
                </a:moveTo>
                <a:cubicBezTo>
                  <a:pt x="0" y="261"/>
                  <a:pt x="0" y="261"/>
                  <a:pt x="0" y="261"/>
                </a:cubicBezTo>
                <a:cubicBezTo>
                  <a:pt x="0" y="274"/>
                  <a:pt x="11" y="284"/>
                  <a:pt x="24" y="284"/>
                </a:cubicBezTo>
                <a:cubicBezTo>
                  <a:pt x="457" y="284"/>
                  <a:pt x="457" y="284"/>
                  <a:pt x="457" y="284"/>
                </a:cubicBezTo>
              </a:path>
            </a:pathLst>
          </a:custGeom>
          <a:noFill/>
          <a:ln w="19050" cap="flat">
            <a:solidFill>
              <a:srgbClr val="FF000F"/>
            </a:solidFill>
            <a:prstDash val="solid"/>
            <a:miter lim="800000"/>
            <a:headEnd type="oval" w="med" len="med"/>
            <a:tailEnd type="none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6071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4" name="Picture 23" descr="C:\Data\ABB\Bilder\EF45 mit Spiegel mittel.JPG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969"/>
          <a:stretch/>
        </p:blipFill>
        <p:spPr bwMode="auto">
          <a:xfrm>
            <a:off x="4687644" y="1931194"/>
            <a:ext cx="2408619" cy="318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lectronic overload relays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lvl="8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8F8FF341-9601-47A6-A4C1-F2885A66BAA5}" type="datetime4">
              <a:rPr lang="en-US" smtClean="0"/>
              <a:t>December 14, 2020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/>
        <p:txBody>
          <a:bodyPr lIns="27432" rIns="27432"/>
          <a:lstStyle/>
          <a:p>
            <a:pPr marL="228600" lvl="1" indent="-228600">
              <a:spcAft>
                <a:spcPts val="600"/>
              </a:spcAft>
            </a:pPr>
            <a:r>
              <a:rPr lang="en-US" dirty="0"/>
              <a:t>Trip Class </a:t>
            </a:r>
            <a:r>
              <a:rPr lang="en-US" b="1" dirty="0"/>
              <a:t>10E, 20E, 30E selectable</a:t>
            </a:r>
          </a:p>
          <a:p>
            <a:pPr marL="228600" lvl="1" indent="-228600">
              <a:spcAft>
                <a:spcPts val="600"/>
              </a:spcAft>
            </a:pPr>
            <a:r>
              <a:rPr lang="en-US" dirty="0"/>
              <a:t>Operating temp. range -25 </a:t>
            </a:r>
            <a:r>
              <a:rPr lang="en-US" b="1" dirty="0"/>
              <a:t>up to 70°C</a:t>
            </a:r>
          </a:p>
          <a:p>
            <a:pPr marL="228600" lvl="1" indent="-228600">
              <a:spcAft>
                <a:spcPts val="600"/>
              </a:spcAft>
            </a:pPr>
            <a:r>
              <a:rPr lang="en-US" dirty="0"/>
              <a:t>Manual/ automatic reset selectable</a:t>
            </a:r>
          </a:p>
          <a:p>
            <a:pPr marL="228600" lvl="1" indent="-228600">
              <a:spcAft>
                <a:spcPts val="600"/>
              </a:spcAft>
            </a:pPr>
            <a:r>
              <a:rPr lang="en-US" dirty="0"/>
              <a:t>Test function</a:t>
            </a:r>
          </a:p>
          <a:p>
            <a:pPr marL="228600" lvl="1" indent="-228600">
              <a:spcAft>
                <a:spcPts val="600"/>
              </a:spcAft>
            </a:pPr>
            <a:r>
              <a:rPr lang="en-US" b="1" dirty="0"/>
              <a:t>Separate STOP button</a:t>
            </a:r>
          </a:p>
          <a:p>
            <a:pPr marL="228600" lvl="1" indent="-228600">
              <a:spcAft>
                <a:spcPts val="600"/>
              </a:spcAft>
            </a:pPr>
            <a:r>
              <a:rPr lang="en-US" b="1" dirty="0"/>
              <a:t>Sealable cover for</a:t>
            </a:r>
            <a:r>
              <a:rPr lang="en-US" dirty="0"/>
              <a:t> current setting, reset selection and test function </a:t>
            </a:r>
          </a:p>
          <a:p>
            <a:pPr marL="228600" lvl="1" indent="-228600">
              <a:spcAft>
                <a:spcPts val="600"/>
              </a:spcAft>
            </a:pPr>
            <a:r>
              <a:rPr lang="en-US" b="1" dirty="0"/>
              <a:t>Perfect match to the contactor</a:t>
            </a:r>
          </a:p>
          <a:p>
            <a:pPr marL="228600" lvl="1" indent="-228600">
              <a:spcAft>
                <a:spcPts val="600"/>
              </a:spcAft>
            </a:pPr>
            <a:r>
              <a:rPr lang="en-US" dirty="0"/>
              <a:t>Also available: ATEX certified types and kits for separate mounting</a:t>
            </a:r>
          </a:p>
        </p:txBody>
      </p:sp>
      <p:sp>
        <p:nvSpPr>
          <p:cNvPr id="8" name="Subtitle 7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US" dirty="0"/>
              <a:t>Basics EF series</a:t>
            </a:r>
          </a:p>
        </p:txBody>
      </p:sp>
      <p:sp>
        <p:nvSpPr>
          <p:cNvPr id="10" name="Freeform 9"/>
          <p:cNvSpPr/>
          <p:nvPr/>
        </p:nvSpPr>
        <p:spPr bwMode="gray">
          <a:xfrm>
            <a:off x="6832092" y="3662792"/>
            <a:ext cx="602897" cy="108189"/>
          </a:xfrm>
          <a:custGeom>
            <a:avLst/>
            <a:gdLst>
              <a:gd name="connsiteX0" fmla="*/ 311150 w 311150"/>
              <a:gd name="connsiteY0" fmla="*/ 190500 h 190500"/>
              <a:gd name="connsiteX1" fmla="*/ 0 w 311150"/>
              <a:gd name="connsiteY1" fmla="*/ 190500 h 190500"/>
              <a:gd name="connsiteX2" fmla="*/ 0 w 311150"/>
              <a:gd name="connsiteY2" fmla="*/ 0 h 190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11150" h="190500">
                <a:moveTo>
                  <a:pt x="311150" y="190500"/>
                </a:moveTo>
                <a:lnTo>
                  <a:pt x="0" y="190500"/>
                </a:lnTo>
                <a:lnTo>
                  <a:pt x="0" y="0"/>
                </a:lnTo>
              </a:path>
            </a:pathLst>
          </a:custGeom>
          <a:noFill/>
          <a:ln w="19050" cap="flat">
            <a:solidFill>
              <a:schemeClr val="bg2"/>
            </a:solidFill>
            <a:prstDash val="solid"/>
            <a:miter lim="800000"/>
            <a:headEnd type="none" w="med" len="med"/>
            <a:tailEnd type="oval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7" name="Freeform 12">
            <a:extLst>
              <a:ext uri="{FF2B5EF4-FFF2-40B4-BE49-F238E27FC236}">
                <a16:creationId xmlns:a16="http://schemas.microsoft.com/office/drawing/2014/main" id="{BB7F327B-30F6-4AC1-A953-E0E3A9070047}"/>
              </a:ext>
            </a:extLst>
          </p:cNvPr>
          <p:cNvSpPr>
            <a:spLocks/>
          </p:cNvSpPr>
          <p:nvPr/>
        </p:nvSpPr>
        <p:spPr bwMode="auto">
          <a:xfrm flipV="1">
            <a:off x="5974080" y="2225294"/>
            <a:ext cx="1424624" cy="1203706"/>
          </a:xfrm>
          <a:custGeom>
            <a:avLst/>
            <a:gdLst>
              <a:gd name="T0" fmla="*/ 0 w 457"/>
              <a:gd name="T1" fmla="*/ 0 h 284"/>
              <a:gd name="T2" fmla="*/ 0 w 457"/>
              <a:gd name="T3" fmla="*/ 261 h 284"/>
              <a:gd name="T4" fmla="*/ 24 w 457"/>
              <a:gd name="T5" fmla="*/ 284 h 284"/>
              <a:gd name="T6" fmla="*/ 457 w 457"/>
              <a:gd name="T7" fmla="*/ 284 h 2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57" h="284">
                <a:moveTo>
                  <a:pt x="0" y="0"/>
                </a:moveTo>
                <a:cubicBezTo>
                  <a:pt x="0" y="261"/>
                  <a:pt x="0" y="261"/>
                  <a:pt x="0" y="261"/>
                </a:cubicBezTo>
                <a:cubicBezTo>
                  <a:pt x="0" y="274"/>
                  <a:pt x="11" y="284"/>
                  <a:pt x="24" y="284"/>
                </a:cubicBezTo>
                <a:cubicBezTo>
                  <a:pt x="457" y="284"/>
                  <a:pt x="457" y="284"/>
                  <a:pt x="457" y="284"/>
                </a:cubicBezTo>
              </a:path>
            </a:pathLst>
          </a:custGeom>
          <a:noFill/>
          <a:ln w="19050" cap="flat">
            <a:solidFill>
              <a:srgbClr val="FF000F"/>
            </a:solidFill>
            <a:prstDash val="solid"/>
            <a:miter lim="800000"/>
            <a:headEnd type="oval" w="med" len="med"/>
            <a:tailEnd type="none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8" name="Freeform 12">
            <a:extLst>
              <a:ext uri="{FF2B5EF4-FFF2-40B4-BE49-F238E27FC236}">
                <a16:creationId xmlns:a16="http://schemas.microsoft.com/office/drawing/2014/main" id="{BB7F327B-30F6-4AC1-A953-E0E3A9070047}"/>
              </a:ext>
            </a:extLst>
          </p:cNvPr>
          <p:cNvSpPr>
            <a:spLocks/>
          </p:cNvSpPr>
          <p:nvPr/>
        </p:nvSpPr>
        <p:spPr bwMode="auto">
          <a:xfrm flipV="1">
            <a:off x="6086458" y="2706596"/>
            <a:ext cx="1312246" cy="1203706"/>
          </a:xfrm>
          <a:custGeom>
            <a:avLst/>
            <a:gdLst>
              <a:gd name="T0" fmla="*/ 0 w 457"/>
              <a:gd name="T1" fmla="*/ 0 h 284"/>
              <a:gd name="T2" fmla="*/ 0 w 457"/>
              <a:gd name="T3" fmla="*/ 261 h 284"/>
              <a:gd name="T4" fmla="*/ 24 w 457"/>
              <a:gd name="T5" fmla="*/ 284 h 284"/>
              <a:gd name="T6" fmla="*/ 457 w 457"/>
              <a:gd name="T7" fmla="*/ 284 h 2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57" h="284">
                <a:moveTo>
                  <a:pt x="0" y="0"/>
                </a:moveTo>
                <a:cubicBezTo>
                  <a:pt x="0" y="261"/>
                  <a:pt x="0" y="261"/>
                  <a:pt x="0" y="261"/>
                </a:cubicBezTo>
                <a:cubicBezTo>
                  <a:pt x="0" y="274"/>
                  <a:pt x="11" y="284"/>
                  <a:pt x="24" y="284"/>
                </a:cubicBezTo>
                <a:cubicBezTo>
                  <a:pt x="457" y="284"/>
                  <a:pt x="457" y="284"/>
                  <a:pt x="457" y="284"/>
                </a:cubicBezTo>
              </a:path>
            </a:pathLst>
          </a:custGeom>
          <a:noFill/>
          <a:ln w="19050" cap="flat">
            <a:solidFill>
              <a:srgbClr val="FF000F"/>
            </a:solidFill>
            <a:prstDash val="solid"/>
            <a:miter lim="800000"/>
            <a:headEnd type="oval" w="med" len="med"/>
            <a:tailEnd type="none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1" name="Text Box 6"/>
          <p:cNvSpPr txBox="1">
            <a:spLocks noChangeArrowheads="1"/>
          </p:cNvSpPr>
          <p:nvPr/>
        </p:nvSpPr>
        <p:spPr bwMode="auto">
          <a:xfrm>
            <a:off x="7497002" y="2606239"/>
            <a:ext cx="130324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folHlink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182563" indent="-182563" eaLnBrk="0" hangingPunct="0">
              <a:defRPr>
                <a:solidFill>
                  <a:srgbClr val="000000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rgbClr val="000000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rgbClr val="000000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rgbClr val="000000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rgbClr val="000000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defRPr>
                <a:solidFill>
                  <a:srgbClr val="000000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defRPr>
                <a:solidFill>
                  <a:srgbClr val="000000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defRPr>
                <a:solidFill>
                  <a:srgbClr val="000000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defRPr>
                <a:solidFill>
                  <a:srgbClr val="000000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sz="1400" dirty="0">
                <a:latin typeface="+mn-lt"/>
              </a:rPr>
              <a:t>Current setting</a:t>
            </a:r>
          </a:p>
        </p:txBody>
      </p:sp>
      <p:sp>
        <p:nvSpPr>
          <p:cNvPr id="32" name="Text Box 7"/>
          <p:cNvSpPr txBox="1">
            <a:spLocks noChangeArrowheads="1"/>
          </p:cNvSpPr>
          <p:nvPr/>
        </p:nvSpPr>
        <p:spPr bwMode="auto">
          <a:xfrm>
            <a:off x="7497002" y="3745570"/>
            <a:ext cx="129139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folHlink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182563" indent="-182563" eaLnBrk="0" hangingPunct="0">
              <a:defRPr>
                <a:solidFill>
                  <a:srgbClr val="000000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rgbClr val="000000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rgbClr val="000000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rgbClr val="000000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rgbClr val="000000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defRPr>
                <a:solidFill>
                  <a:srgbClr val="000000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defRPr>
                <a:solidFill>
                  <a:srgbClr val="000000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defRPr>
                <a:solidFill>
                  <a:srgbClr val="000000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defRPr>
                <a:solidFill>
                  <a:srgbClr val="000000"/>
                </a:solidFill>
                <a:latin typeface="Arial" charset="0"/>
              </a:defRPr>
            </a:lvl9pPr>
          </a:lstStyle>
          <a:p>
            <a:pPr marL="0" indent="0" eaLnBrk="1" hangingPunct="1"/>
            <a:r>
              <a:rPr lang="en-US" sz="1400" dirty="0">
                <a:latin typeface="+mn-lt"/>
              </a:rPr>
              <a:t>Cover, sealable</a:t>
            </a:r>
          </a:p>
        </p:txBody>
      </p:sp>
      <p:sp>
        <p:nvSpPr>
          <p:cNvPr id="36" name="Text Box 8"/>
          <p:cNvSpPr txBox="1">
            <a:spLocks noChangeArrowheads="1"/>
          </p:cNvSpPr>
          <p:nvPr/>
        </p:nvSpPr>
        <p:spPr bwMode="auto">
          <a:xfrm>
            <a:off x="7497002" y="5330575"/>
            <a:ext cx="1033937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folHlink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182563" indent="-182563" eaLnBrk="0" hangingPunct="0">
              <a:defRPr>
                <a:solidFill>
                  <a:srgbClr val="000000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rgbClr val="000000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rgbClr val="000000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rgbClr val="000000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rgbClr val="000000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defRPr>
                <a:solidFill>
                  <a:srgbClr val="000000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defRPr>
                <a:solidFill>
                  <a:srgbClr val="000000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defRPr>
                <a:solidFill>
                  <a:srgbClr val="000000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defRPr>
                <a:solidFill>
                  <a:srgbClr val="000000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sz="1400" dirty="0">
                <a:latin typeface="+mn-lt"/>
              </a:rPr>
              <a:t>Stop</a:t>
            </a:r>
          </a:p>
        </p:txBody>
      </p:sp>
      <p:sp>
        <p:nvSpPr>
          <p:cNvPr id="37" name="Text Box 9"/>
          <p:cNvSpPr txBox="1">
            <a:spLocks noChangeArrowheads="1"/>
          </p:cNvSpPr>
          <p:nvPr/>
        </p:nvSpPr>
        <p:spPr bwMode="auto">
          <a:xfrm>
            <a:off x="7497002" y="4450548"/>
            <a:ext cx="1395538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folHlink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182563" indent="-182563" eaLnBrk="0" hangingPunct="0">
              <a:defRPr>
                <a:solidFill>
                  <a:srgbClr val="000000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rgbClr val="000000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rgbClr val="000000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rgbClr val="000000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rgbClr val="000000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defRPr>
                <a:solidFill>
                  <a:srgbClr val="000000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defRPr>
                <a:solidFill>
                  <a:srgbClr val="000000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defRPr>
                <a:solidFill>
                  <a:srgbClr val="000000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defRPr>
                <a:solidFill>
                  <a:srgbClr val="000000"/>
                </a:solidFill>
                <a:latin typeface="Arial" charset="0"/>
              </a:defRPr>
            </a:lvl9pPr>
          </a:lstStyle>
          <a:p>
            <a:pPr marL="0" indent="0" algn="l" eaLnBrk="1" hangingPunct="1"/>
            <a:r>
              <a:rPr lang="en-US" sz="1400" dirty="0">
                <a:solidFill>
                  <a:schemeClr val="tx1"/>
                </a:solidFill>
                <a:latin typeface="+mn-lt"/>
              </a:rPr>
              <a:t>Test/ Status</a:t>
            </a:r>
            <a:br>
              <a:rPr lang="en-US" sz="1400" dirty="0">
                <a:solidFill>
                  <a:schemeClr val="tx1"/>
                </a:solidFill>
                <a:latin typeface="+mn-lt"/>
              </a:rPr>
            </a:br>
            <a:r>
              <a:rPr lang="en-US" sz="1400" dirty="0">
                <a:solidFill>
                  <a:schemeClr val="tx1"/>
                </a:solidFill>
                <a:latin typeface="+mn-lt"/>
              </a:rPr>
              <a:t>indication</a:t>
            </a:r>
          </a:p>
        </p:txBody>
      </p:sp>
      <p:sp>
        <p:nvSpPr>
          <p:cNvPr id="38" name="Text Box 15"/>
          <p:cNvSpPr txBox="1">
            <a:spLocks noChangeArrowheads="1"/>
          </p:cNvSpPr>
          <p:nvPr/>
        </p:nvSpPr>
        <p:spPr bwMode="auto">
          <a:xfrm>
            <a:off x="7497002" y="2114618"/>
            <a:ext cx="69089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folHlink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182563" indent="-182563" eaLnBrk="0" hangingPunct="0">
              <a:defRPr>
                <a:solidFill>
                  <a:srgbClr val="000000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rgbClr val="000000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rgbClr val="000000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rgbClr val="000000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rgbClr val="000000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defRPr>
                <a:solidFill>
                  <a:srgbClr val="000000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defRPr>
                <a:solidFill>
                  <a:srgbClr val="000000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defRPr>
                <a:solidFill>
                  <a:srgbClr val="000000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defRPr>
                <a:solidFill>
                  <a:srgbClr val="000000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sz="1400" dirty="0">
                <a:latin typeface="+mn-lt"/>
              </a:rPr>
              <a:t>Marking</a:t>
            </a:r>
          </a:p>
        </p:txBody>
      </p:sp>
      <p:sp>
        <p:nvSpPr>
          <p:cNvPr id="39" name="Text Box 7"/>
          <p:cNvSpPr txBox="1">
            <a:spLocks noChangeArrowheads="1"/>
          </p:cNvSpPr>
          <p:nvPr/>
        </p:nvSpPr>
        <p:spPr bwMode="auto">
          <a:xfrm>
            <a:off x="7497002" y="3057831"/>
            <a:ext cx="1274388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folHlink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182563" indent="-182563" eaLnBrk="0" hangingPunct="0">
              <a:defRPr>
                <a:solidFill>
                  <a:srgbClr val="000000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rgbClr val="000000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rgbClr val="000000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rgbClr val="000000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rgbClr val="000000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defRPr>
                <a:solidFill>
                  <a:srgbClr val="000000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defRPr>
                <a:solidFill>
                  <a:srgbClr val="000000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defRPr>
                <a:solidFill>
                  <a:srgbClr val="000000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defRPr>
                <a:solidFill>
                  <a:srgbClr val="000000"/>
                </a:solidFill>
                <a:latin typeface="Arial" charset="0"/>
              </a:defRPr>
            </a:lvl9pPr>
          </a:lstStyle>
          <a:p>
            <a:pPr marL="0" indent="0" eaLnBrk="1" hangingPunct="1"/>
            <a:r>
              <a:rPr lang="en-US" sz="1400" dirty="0">
                <a:latin typeface="+mn-lt"/>
              </a:rPr>
              <a:t>Trip class </a:t>
            </a:r>
            <a:br>
              <a:rPr lang="en-US" sz="1400" dirty="0">
                <a:latin typeface="+mn-lt"/>
              </a:rPr>
            </a:br>
            <a:r>
              <a:rPr lang="en-US" sz="1400" dirty="0">
                <a:latin typeface="+mn-lt"/>
              </a:rPr>
              <a:t>selection</a:t>
            </a:r>
          </a:p>
        </p:txBody>
      </p:sp>
      <p:sp>
        <p:nvSpPr>
          <p:cNvPr id="40" name="Text Box 7"/>
          <p:cNvSpPr txBox="1">
            <a:spLocks noChangeArrowheads="1"/>
          </p:cNvSpPr>
          <p:nvPr/>
        </p:nvSpPr>
        <p:spPr bwMode="auto">
          <a:xfrm>
            <a:off x="7497002" y="4152424"/>
            <a:ext cx="129139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folHlink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182563" indent="-182563" eaLnBrk="0" hangingPunct="0">
              <a:defRPr>
                <a:solidFill>
                  <a:srgbClr val="000000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rgbClr val="000000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rgbClr val="000000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rgbClr val="000000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rgbClr val="000000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defRPr>
                <a:solidFill>
                  <a:srgbClr val="000000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defRPr>
                <a:solidFill>
                  <a:srgbClr val="000000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defRPr>
                <a:solidFill>
                  <a:srgbClr val="000000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defRPr>
                <a:solidFill>
                  <a:srgbClr val="000000"/>
                </a:solidFill>
                <a:latin typeface="Arial" charset="0"/>
              </a:defRPr>
            </a:lvl9pPr>
          </a:lstStyle>
          <a:p>
            <a:pPr marL="0" indent="0" eaLnBrk="1" hangingPunct="1"/>
            <a:r>
              <a:rPr lang="en-US" sz="1400" dirty="0">
                <a:latin typeface="+mn-lt"/>
              </a:rPr>
              <a:t>Reset</a:t>
            </a:r>
          </a:p>
        </p:txBody>
      </p:sp>
      <p:sp>
        <p:nvSpPr>
          <p:cNvPr id="42" name="Freeform 12">
            <a:extLst>
              <a:ext uri="{FF2B5EF4-FFF2-40B4-BE49-F238E27FC236}">
                <a16:creationId xmlns:a16="http://schemas.microsoft.com/office/drawing/2014/main" id="{BB7F327B-30F6-4AC1-A953-E0E3A9070047}"/>
              </a:ext>
            </a:extLst>
          </p:cNvPr>
          <p:cNvSpPr>
            <a:spLocks/>
          </p:cNvSpPr>
          <p:nvPr/>
        </p:nvSpPr>
        <p:spPr bwMode="auto">
          <a:xfrm flipV="1">
            <a:off x="6425184" y="3249168"/>
            <a:ext cx="973520" cy="484632"/>
          </a:xfrm>
          <a:custGeom>
            <a:avLst/>
            <a:gdLst>
              <a:gd name="T0" fmla="*/ 0 w 457"/>
              <a:gd name="T1" fmla="*/ 0 h 284"/>
              <a:gd name="T2" fmla="*/ 0 w 457"/>
              <a:gd name="T3" fmla="*/ 261 h 284"/>
              <a:gd name="T4" fmla="*/ 24 w 457"/>
              <a:gd name="T5" fmla="*/ 284 h 284"/>
              <a:gd name="T6" fmla="*/ 457 w 457"/>
              <a:gd name="T7" fmla="*/ 284 h 2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57" h="284">
                <a:moveTo>
                  <a:pt x="0" y="0"/>
                </a:moveTo>
                <a:cubicBezTo>
                  <a:pt x="0" y="261"/>
                  <a:pt x="0" y="261"/>
                  <a:pt x="0" y="261"/>
                </a:cubicBezTo>
                <a:cubicBezTo>
                  <a:pt x="0" y="274"/>
                  <a:pt x="11" y="284"/>
                  <a:pt x="24" y="284"/>
                </a:cubicBezTo>
                <a:cubicBezTo>
                  <a:pt x="457" y="284"/>
                  <a:pt x="457" y="284"/>
                  <a:pt x="457" y="284"/>
                </a:cubicBezTo>
              </a:path>
            </a:pathLst>
          </a:custGeom>
          <a:noFill/>
          <a:ln w="19050" cap="flat">
            <a:solidFill>
              <a:srgbClr val="FF000F"/>
            </a:solidFill>
            <a:prstDash val="solid"/>
            <a:miter lim="800000"/>
            <a:headEnd type="oval" w="med" len="med"/>
            <a:tailEnd type="none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46" name="Freeform 12">
            <a:extLst>
              <a:ext uri="{FF2B5EF4-FFF2-40B4-BE49-F238E27FC236}">
                <a16:creationId xmlns:a16="http://schemas.microsoft.com/office/drawing/2014/main" id="{BB7F327B-30F6-4AC1-A953-E0E3A9070047}"/>
              </a:ext>
            </a:extLst>
          </p:cNvPr>
          <p:cNvSpPr>
            <a:spLocks/>
          </p:cNvSpPr>
          <p:nvPr/>
        </p:nvSpPr>
        <p:spPr bwMode="auto">
          <a:xfrm>
            <a:off x="6288024" y="4239577"/>
            <a:ext cx="1110680" cy="1202893"/>
          </a:xfrm>
          <a:custGeom>
            <a:avLst/>
            <a:gdLst>
              <a:gd name="T0" fmla="*/ 0 w 457"/>
              <a:gd name="T1" fmla="*/ 0 h 284"/>
              <a:gd name="T2" fmla="*/ 0 w 457"/>
              <a:gd name="T3" fmla="*/ 261 h 284"/>
              <a:gd name="T4" fmla="*/ 24 w 457"/>
              <a:gd name="T5" fmla="*/ 284 h 284"/>
              <a:gd name="T6" fmla="*/ 457 w 457"/>
              <a:gd name="T7" fmla="*/ 284 h 2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57" h="284">
                <a:moveTo>
                  <a:pt x="0" y="0"/>
                </a:moveTo>
                <a:cubicBezTo>
                  <a:pt x="0" y="261"/>
                  <a:pt x="0" y="261"/>
                  <a:pt x="0" y="261"/>
                </a:cubicBezTo>
                <a:cubicBezTo>
                  <a:pt x="0" y="274"/>
                  <a:pt x="11" y="284"/>
                  <a:pt x="24" y="284"/>
                </a:cubicBezTo>
                <a:cubicBezTo>
                  <a:pt x="457" y="284"/>
                  <a:pt x="457" y="284"/>
                  <a:pt x="457" y="284"/>
                </a:cubicBezTo>
              </a:path>
            </a:pathLst>
          </a:custGeom>
          <a:noFill/>
          <a:ln w="19050" cap="flat">
            <a:solidFill>
              <a:srgbClr val="FF000F"/>
            </a:solidFill>
            <a:prstDash val="solid"/>
            <a:miter lim="800000"/>
            <a:headEnd type="oval" w="med" len="med"/>
            <a:tailEnd type="none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47" name="Freeform 12">
            <a:extLst>
              <a:ext uri="{FF2B5EF4-FFF2-40B4-BE49-F238E27FC236}">
                <a16:creationId xmlns:a16="http://schemas.microsoft.com/office/drawing/2014/main" id="{BB7F327B-30F6-4AC1-A953-E0E3A9070047}"/>
              </a:ext>
            </a:extLst>
          </p:cNvPr>
          <p:cNvSpPr>
            <a:spLocks/>
          </p:cNvSpPr>
          <p:nvPr/>
        </p:nvSpPr>
        <p:spPr bwMode="auto">
          <a:xfrm>
            <a:off x="6553198" y="4091232"/>
            <a:ext cx="845506" cy="521208"/>
          </a:xfrm>
          <a:custGeom>
            <a:avLst/>
            <a:gdLst>
              <a:gd name="T0" fmla="*/ 0 w 457"/>
              <a:gd name="T1" fmla="*/ 0 h 284"/>
              <a:gd name="T2" fmla="*/ 0 w 457"/>
              <a:gd name="T3" fmla="*/ 261 h 284"/>
              <a:gd name="T4" fmla="*/ 24 w 457"/>
              <a:gd name="T5" fmla="*/ 284 h 284"/>
              <a:gd name="T6" fmla="*/ 457 w 457"/>
              <a:gd name="T7" fmla="*/ 284 h 2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57" h="284">
                <a:moveTo>
                  <a:pt x="0" y="0"/>
                </a:moveTo>
                <a:cubicBezTo>
                  <a:pt x="0" y="261"/>
                  <a:pt x="0" y="261"/>
                  <a:pt x="0" y="261"/>
                </a:cubicBezTo>
                <a:cubicBezTo>
                  <a:pt x="0" y="274"/>
                  <a:pt x="11" y="284"/>
                  <a:pt x="24" y="284"/>
                </a:cubicBezTo>
                <a:cubicBezTo>
                  <a:pt x="457" y="284"/>
                  <a:pt x="457" y="284"/>
                  <a:pt x="457" y="284"/>
                </a:cubicBezTo>
              </a:path>
            </a:pathLst>
          </a:custGeom>
          <a:noFill/>
          <a:ln w="19050" cap="flat">
            <a:solidFill>
              <a:srgbClr val="FF000F"/>
            </a:solidFill>
            <a:prstDash val="solid"/>
            <a:miter lim="800000"/>
            <a:headEnd type="oval" w="med" len="med"/>
            <a:tailEnd type="none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49" name="Freeform 12">
            <a:extLst>
              <a:ext uri="{FF2B5EF4-FFF2-40B4-BE49-F238E27FC236}">
                <a16:creationId xmlns:a16="http://schemas.microsoft.com/office/drawing/2014/main" id="{BB7F327B-30F6-4AC1-A953-E0E3A9070047}"/>
              </a:ext>
            </a:extLst>
          </p:cNvPr>
          <p:cNvSpPr>
            <a:spLocks/>
          </p:cNvSpPr>
          <p:nvPr/>
        </p:nvSpPr>
        <p:spPr bwMode="auto">
          <a:xfrm>
            <a:off x="7028686" y="3930650"/>
            <a:ext cx="370018" cy="365760"/>
          </a:xfrm>
          <a:custGeom>
            <a:avLst/>
            <a:gdLst>
              <a:gd name="T0" fmla="*/ 0 w 457"/>
              <a:gd name="T1" fmla="*/ 0 h 284"/>
              <a:gd name="T2" fmla="*/ 0 w 457"/>
              <a:gd name="T3" fmla="*/ 261 h 284"/>
              <a:gd name="T4" fmla="*/ 24 w 457"/>
              <a:gd name="T5" fmla="*/ 284 h 284"/>
              <a:gd name="T6" fmla="*/ 457 w 457"/>
              <a:gd name="T7" fmla="*/ 284 h 2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57" h="284">
                <a:moveTo>
                  <a:pt x="0" y="0"/>
                </a:moveTo>
                <a:cubicBezTo>
                  <a:pt x="0" y="261"/>
                  <a:pt x="0" y="261"/>
                  <a:pt x="0" y="261"/>
                </a:cubicBezTo>
                <a:cubicBezTo>
                  <a:pt x="0" y="274"/>
                  <a:pt x="11" y="284"/>
                  <a:pt x="24" y="284"/>
                </a:cubicBezTo>
                <a:cubicBezTo>
                  <a:pt x="457" y="284"/>
                  <a:pt x="457" y="284"/>
                  <a:pt x="457" y="284"/>
                </a:cubicBezTo>
              </a:path>
            </a:pathLst>
          </a:custGeom>
          <a:noFill/>
          <a:ln w="19050" cap="flat">
            <a:solidFill>
              <a:srgbClr val="FF000F"/>
            </a:solidFill>
            <a:prstDash val="solid"/>
            <a:miter lim="800000"/>
            <a:headEnd type="oval" w="med" len="med"/>
            <a:tailEnd type="none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51" name="Freeform 50"/>
          <p:cNvSpPr/>
          <p:nvPr/>
        </p:nvSpPr>
        <p:spPr bwMode="gray">
          <a:xfrm>
            <a:off x="7028686" y="3625850"/>
            <a:ext cx="786577" cy="107950"/>
          </a:xfrm>
          <a:custGeom>
            <a:avLst/>
            <a:gdLst>
              <a:gd name="connsiteX0" fmla="*/ 1231900 w 1231900"/>
              <a:gd name="connsiteY0" fmla="*/ 107950 h 107950"/>
              <a:gd name="connsiteX1" fmla="*/ 1231900 w 1231900"/>
              <a:gd name="connsiteY1" fmla="*/ 0 h 107950"/>
              <a:gd name="connsiteX2" fmla="*/ 0 w 1231900"/>
              <a:gd name="connsiteY2" fmla="*/ 0 h 107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31900" h="107950">
                <a:moveTo>
                  <a:pt x="1231900" y="107950"/>
                </a:moveTo>
                <a:lnTo>
                  <a:pt x="1231900" y="0"/>
                </a:lnTo>
                <a:lnTo>
                  <a:pt x="0" y="0"/>
                </a:lnTo>
              </a:path>
            </a:pathLst>
          </a:custGeom>
          <a:noFill/>
          <a:ln w="19050" cap="flat">
            <a:solidFill>
              <a:schemeClr val="bg2"/>
            </a:solidFill>
            <a:prstDash val="solid"/>
            <a:miter lim="800000"/>
            <a:headEnd type="none" w="med" len="med"/>
            <a:tailEnd type="oval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3427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Continuous oper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0565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4094DB61-25C8-4EF5-ACA6-394B43063948}" type="datetime4">
              <a:rPr lang="en-US" smtClean="0"/>
              <a:t>December 14, 2020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lvl="8"/>
            <a:r>
              <a:rPr lang="en-US" dirty="0"/>
              <a:t>Uc = Control voltag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12" name="Subtitle 11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US" dirty="0"/>
              <a:t>Coil operating limit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inuous operation</a:t>
            </a:r>
          </a:p>
        </p:txBody>
      </p:sp>
      <p:grpSp>
        <p:nvGrpSpPr>
          <p:cNvPr id="37" name="Group 36"/>
          <p:cNvGrpSpPr/>
          <p:nvPr/>
        </p:nvGrpSpPr>
        <p:grpSpPr>
          <a:xfrm>
            <a:off x="1097245" y="2602066"/>
            <a:ext cx="1096121" cy="1138018"/>
            <a:chOff x="1477772" y="2385867"/>
            <a:chExt cx="1096121" cy="1970918"/>
          </a:xfrm>
        </p:grpSpPr>
        <p:sp>
          <p:nvSpPr>
            <p:cNvPr id="38" name="Rectangle 37"/>
            <p:cNvSpPr/>
            <p:nvPr/>
          </p:nvSpPr>
          <p:spPr bwMode="auto">
            <a:xfrm>
              <a:off x="1477772" y="2976644"/>
              <a:ext cx="464535" cy="335170"/>
            </a:xfrm>
            <a:prstGeom prst="rect">
              <a:avLst/>
            </a:prstGeom>
            <a:solidFill>
              <a:schemeClr val="accent4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R="0" algn="ct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0000"/>
                <a:tabLst/>
              </a:pPr>
              <a:r>
                <a:rPr kumimoji="0" lang="en-US" sz="1200" b="1" i="0" u="none" strike="noStrike" cap="none" normalizeH="0" baseline="0" dirty="0">
                  <a:ln>
                    <a:noFill/>
                  </a:ln>
                  <a:solidFill>
                    <a:schemeClr val="accent1"/>
                  </a:solidFill>
                  <a:effectLst/>
                </a:rPr>
                <a:t>Uc</a:t>
              </a:r>
            </a:p>
          </p:txBody>
        </p:sp>
        <p:sp>
          <p:nvSpPr>
            <p:cNvPr id="39" name="Rectangle 38"/>
            <p:cNvSpPr/>
            <p:nvPr/>
          </p:nvSpPr>
          <p:spPr bwMode="auto">
            <a:xfrm>
              <a:off x="1477772" y="2457902"/>
              <a:ext cx="464535" cy="521479"/>
            </a:xfrm>
            <a:prstGeom prst="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R="0" algn="ct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0000"/>
                <a:tabLst/>
              </a:pPr>
              <a:r>
                <a:rPr kumimoji="0" lang="en-US" sz="12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</a:rPr>
                <a:t>+10%</a:t>
              </a:r>
            </a:p>
          </p:txBody>
        </p:sp>
        <p:sp>
          <p:nvSpPr>
            <p:cNvPr id="40" name="Rectangle 39"/>
            <p:cNvSpPr/>
            <p:nvPr/>
          </p:nvSpPr>
          <p:spPr bwMode="auto">
            <a:xfrm>
              <a:off x="1477772" y="3311815"/>
              <a:ext cx="464535" cy="728803"/>
            </a:xfrm>
            <a:prstGeom prst="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1" hangingPunct="1">
                <a:spcBef>
                  <a:spcPct val="50000"/>
                </a:spcBef>
                <a:buClr>
                  <a:schemeClr val="tx2"/>
                </a:buClr>
                <a:buSzPct val="70000"/>
              </a:pPr>
              <a:r>
                <a:rPr lang="en-US" sz="1200" dirty="0">
                  <a:solidFill>
                    <a:schemeClr val="bg1"/>
                  </a:solidFill>
                </a:rPr>
                <a:t>-15% </a:t>
              </a:r>
            </a:p>
          </p:txBody>
        </p:sp>
        <p:cxnSp>
          <p:nvCxnSpPr>
            <p:cNvPr id="41" name="Connecteur droit 78"/>
            <p:cNvCxnSpPr/>
            <p:nvPr/>
          </p:nvCxnSpPr>
          <p:spPr bwMode="auto">
            <a:xfrm>
              <a:off x="1477772" y="4040618"/>
              <a:ext cx="519042" cy="0"/>
            </a:xfrm>
            <a:prstGeom prst="line">
              <a:avLst/>
            </a:prstGeom>
            <a:solidFill>
              <a:schemeClr val="folHlink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2" name="Connecteur droit 79"/>
            <p:cNvCxnSpPr/>
            <p:nvPr/>
          </p:nvCxnSpPr>
          <p:spPr bwMode="auto">
            <a:xfrm>
              <a:off x="1477772" y="3311815"/>
              <a:ext cx="519042" cy="0"/>
            </a:xfrm>
            <a:prstGeom prst="line">
              <a:avLst/>
            </a:prstGeom>
            <a:solidFill>
              <a:schemeClr val="folHlink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3" name="Connecteur droit 80"/>
            <p:cNvCxnSpPr/>
            <p:nvPr/>
          </p:nvCxnSpPr>
          <p:spPr bwMode="auto">
            <a:xfrm>
              <a:off x="1477772" y="2979381"/>
              <a:ext cx="519042" cy="0"/>
            </a:xfrm>
            <a:prstGeom prst="line">
              <a:avLst/>
            </a:prstGeom>
            <a:solidFill>
              <a:schemeClr val="folHlink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4" name="Connecteur droit 81"/>
            <p:cNvCxnSpPr/>
            <p:nvPr/>
          </p:nvCxnSpPr>
          <p:spPr bwMode="auto">
            <a:xfrm>
              <a:off x="1477772" y="2457902"/>
              <a:ext cx="519042" cy="0"/>
            </a:xfrm>
            <a:prstGeom prst="line">
              <a:avLst/>
            </a:prstGeom>
            <a:solidFill>
              <a:schemeClr val="folHlink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45" name="ZoneTexte 107"/>
            <p:cNvSpPr txBox="1"/>
            <p:nvPr/>
          </p:nvSpPr>
          <p:spPr>
            <a:xfrm>
              <a:off x="1984977" y="2385867"/>
              <a:ext cx="534121" cy="4797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/>
                <a:t>253V</a:t>
              </a:r>
            </a:p>
          </p:txBody>
        </p:sp>
        <p:sp>
          <p:nvSpPr>
            <p:cNvPr id="46" name="ZoneTexte 108"/>
            <p:cNvSpPr txBox="1"/>
            <p:nvPr/>
          </p:nvSpPr>
          <p:spPr>
            <a:xfrm>
              <a:off x="1994888" y="2880444"/>
              <a:ext cx="579005" cy="4797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>
                  <a:solidFill>
                    <a:schemeClr val="accent2"/>
                  </a:solidFill>
                </a:rPr>
                <a:t>230 V</a:t>
              </a:r>
            </a:p>
          </p:txBody>
        </p:sp>
        <p:sp>
          <p:nvSpPr>
            <p:cNvPr id="47" name="ZoneTexte 109"/>
            <p:cNvSpPr txBox="1"/>
            <p:nvPr/>
          </p:nvSpPr>
          <p:spPr>
            <a:xfrm>
              <a:off x="1966013" y="3877054"/>
              <a:ext cx="559769" cy="4797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/>
                <a:t>187 V</a:t>
              </a:r>
            </a:p>
          </p:txBody>
        </p:sp>
      </p:grpSp>
      <p:sp>
        <p:nvSpPr>
          <p:cNvPr id="48" name="Text Placeholder 11"/>
          <p:cNvSpPr txBox="1">
            <a:spLocks/>
          </p:cNvSpPr>
          <p:nvPr/>
        </p:nvSpPr>
        <p:spPr bwMode="gray">
          <a:xfrm>
            <a:off x="247610" y="1931193"/>
            <a:ext cx="2732875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defTabSz="914491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91" rtl="0" eaLnBrk="1" latinLnBrk="0" hangingPunct="1">
              <a:spcBef>
                <a:spcPts val="0"/>
              </a:spcBef>
              <a:buFont typeface="ABBvoiceOffice" panose="020D0603020503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91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91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91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91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91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91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91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/>
              <a:t>IEC 60947-1 requirement</a:t>
            </a:r>
          </a:p>
        </p:txBody>
      </p:sp>
      <p:grpSp>
        <p:nvGrpSpPr>
          <p:cNvPr id="57" name="Group 56"/>
          <p:cNvGrpSpPr/>
          <p:nvPr/>
        </p:nvGrpSpPr>
        <p:grpSpPr>
          <a:xfrm>
            <a:off x="3093635" y="1931193"/>
            <a:ext cx="2843642" cy="3983835"/>
            <a:chOff x="3093635" y="1931193"/>
            <a:chExt cx="2843642" cy="3983835"/>
          </a:xfrm>
        </p:grpSpPr>
        <p:grpSp>
          <p:nvGrpSpPr>
            <p:cNvPr id="11" name="Group 10"/>
            <p:cNvGrpSpPr/>
            <p:nvPr/>
          </p:nvGrpSpPr>
          <p:grpSpPr>
            <a:xfrm>
              <a:off x="3204402" y="1931193"/>
              <a:ext cx="2732875" cy="1913140"/>
              <a:chOff x="3204402" y="1931193"/>
              <a:chExt cx="2732875" cy="1913140"/>
            </a:xfrm>
          </p:grpSpPr>
          <p:grpSp>
            <p:nvGrpSpPr>
              <p:cNvPr id="13" name="Group 12"/>
              <p:cNvGrpSpPr/>
              <p:nvPr/>
            </p:nvGrpSpPr>
            <p:grpSpPr>
              <a:xfrm>
                <a:off x="4067873" y="2602066"/>
                <a:ext cx="1068451" cy="1242267"/>
                <a:chOff x="3631241" y="2307271"/>
                <a:chExt cx="1068451" cy="2151465"/>
              </a:xfrm>
            </p:grpSpPr>
            <p:sp>
              <p:nvSpPr>
                <p:cNvPr id="14" name="Rectangle 13"/>
                <p:cNvSpPr/>
                <p:nvPr/>
              </p:nvSpPr>
              <p:spPr bwMode="auto">
                <a:xfrm>
                  <a:off x="3631241" y="2884999"/>
                  <a:ext cx="464535" cy="608330"/>
                </a:xfrm>
                <a:prstGeom prst="rect">
                  <a:avLst/>
                </a:prstGeom>
                <a:solidFill>
                  <a:schemeClr val="accent4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R="0" algn="ct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70000"/>
                    <a:tabLst/>
                  </a:pPr>
                  <a:endParaRPr kumimoji="0" lang="en-US" sz="1200" b="1" i="0" u="none" strike="noStrike" cap="none" normalizeH="0" baseline="0" dirty="0">
                    <a:ln>
                      <a:noFill/>
                    </a:ln>
                    <a:solidFill>
                      <a:schemeClr val="accent1"/>
                    </a:solidFill>
                    <a:effectLst/>
                  </a:endParaRPr>
                </a:p>
              </p:txBody>
            </p:sp>
            <p:sp>
              <p:nvSpPr>
                <p:cNvPr id="15" name="Rectangle 14"/>
                <p:cNvSpPr/>
                <p:nvPr/>
              </p:nvSpPr>
              <p:spPr bwMode="auto">
                <a:xfrm>
                  <a:off x="3631241" y="2366257"/>
                  <a:ext cx="464535" cy="521479"/>
                </a:xfrm>
                <a:prstGeom prst="rect">
                  <a:avLst/>
                </a:prstGeom>
                <a:solidFill>
                  <a:schemeClr val="accent2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R="0" algn="ct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70000"/>
                    <a:tabLst/>
                  </a:pPr>
                  <a:r>
                    <a:rPr kumimoji="0" lang="en-US" sz="1200" b="0" i="0" u="none" strike="noStrike" cap="none" normalizeH="0" baseline="0" dirty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</a:rPr>
                    <a:t>+10%</a:t>
                  </a:r>
                </a:p>
              </p:txBody>
            </p:sp>
            <p:sp>
              <p:nvSpPr>
                <p:cNvPr id="16" name="Rectangle 15"/>
                <p:cNvSpPr/>
                <p:nvPr/>
              </p:nvSpPr>
              <p:spPr bwMode="auto">
                <a:xfrm>
                  <a:off x="3631241" y="3493330"/>
                  <a:ext cx="464535" cy="728803"/>
                </a:xfrm>
                <a:prstGeom prst="rect">
                  <a:avLst/>
                </a:prstGeom>
                <a:solidFill>
                  <a:schemeClr val="accent2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eaLnBrk="1" hangingPunct="1">
                    <a:spcBef>
                      <a:spcPct val="50000"/>
                    </a:spcBef>
                    <a:buClr>
                      <a:schemeClr val="tx2"/>
                    </a:buClr>
                    <a:buSzPct val="70000"/>
                  </a:pPr>
                  <a:r>
                    <a:rPr lang="en-US" sz="1200" dirty="0">
                      <a:solidFill>
                        <a:schemeClr val="bg1"/>
                      </a:solidFill>
                    </a:rPr>
                    <a:t>-15% </a:t>
                  </a:r>
                </a:p>
              </p:txBody>
            </p:sp>
            <p:cxnSp>
              <p:nvCxnSpPr>
                <p:cNvPr id="17" name="Connecteur droit 87"/>
                <p:cNvCxnSpPr/>
                <p:nvPr/>
              </p:nvCxnSpPr>
              <p:spPr bwMode="auto">
                <a:xfrm>
                  <a:off x="3631241" y="4222133"/>
                  <a:ext cx="519042" cy="0"/>
                </a:xfrm>
                <a:prstGeom prst="line">
                  <a:avLst/>
                </a:prstGeom>
                <a:solidFill>
                  <a:schemeClr val="folHlink"/>
                </a:solidFill>
                <a:ln w="952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8" name="Connecteur droit 88"/>
                <p:cNvCxnSpPr/>
                <p:nvPr/>
              </p:nvCxnSpPr>
              <p:spPr bwMode="auto">
                <a:xfrm>
                  <a:off x="3631241" y="3493330"/>
                  <a:ext cx="519042" cy="0"/>
                </a:xfrm>
                <a:prstGeom prst="line">
                  <a:avLst/>
                </a:prstGeom>
                <a:solidFill>
                  <a:schemeClr val="folHlink"/>
                </a:solidFill>
                <a:ln w="952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9" name="Connecteur droit 89"/>
                <p:cNvCxnSpPr/>
                <p:nvPr/>
              </p:nvCxnSpPr>
              <p:spPr bwMode="auto">
                <a:xfrm>
                  <a:off x="3631241" y="2887736"/>
                  <a:ext cx="519042" cy="0"/>
                </a:xfrm>
                <a:prstGeom prst="line">
                  <a:avLst/>
                </a:prstGeom>
                <a:solidFill>
                  <a:schemeClr val="folHlink"/>
                </a:solidFill>
                <a:ln w="952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0" name="Connecteur droit 90"/>
                <p:cNvCxnSpPr/>
                <p:nvPr/>
              </p:nvCxnSpPr>
              <p:spPr bwMode="auto">
                <a:xfrm>
                  <a:off x="3631241" y="2366257"/>
                  <a:ext cx="519042" cy="0"/>
                </a:xfrm>
                <a:prstGeom prst="line">
                  <a:avLst/>
                </a:prstGeom>
                <a:solidFill>
                  <a:schemeClr val="folHlink"/>
                </a:solidFill>
                <a:ln w="952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sp>
              <p:nvSpPr>
                <p:cNvPr id="21" name="ZoneTexte 91"/>
                <p:cNvSpPr txBox="1"/>
                <p:nvPr/>
              </p:nvSpPr>
              <p:spPr>
                <a:xfrm>
                  <a:off x="4120687" y="2718641"/>
                  <a:ext cx="579005" cy="479731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 sz="1200" dirty="0">
                      <a:solidFill>
                        <a:schemeClr val="accent2"/>
                      </a:solidFill>
                    </a:rPr>
                    <a:t>230 V</a:t>
                  </a:r>
                </a:p>
              </p:txBody>
            </p:sp>
            <p:sp>
              <p:nvSpPr>
                <p:cNvPr id="22" name="ZoneTexte 92"/>
                <p:cNvSpPr txBox="1"/>
                <p:nvPr/>
              </p:nvSpPr>
              <p:spPr>
                <a:xfrm>
                  <a:off x="4120687" y="3327832"/>
                  <a:ext cx="577402" cy="479731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 sz="1200" dirty="0">
                      <a:solidFill>
                        <a:schemeClr val="accent2"/>
                      </a:solidFill>
                    </a:rPr>
                    <a:t>220 V</a:t>
                  </a:r>
                </a:p>
              </p:txBody>
            </p:sp>
            <p:sp>
              <p:nvSpPr>
                <p:cNvPr id="23" name="ZoneTexte 93"/>
                <p:cNvSpPr txBox="1"/>
                <p:nvPr/>
              </p:nvSpPr>
              <p:spPr>
                <a:xfrm>
                  <a:off x="4120687" y="3979005"/>
                  <a:ext cx="559769" cy="479731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 sz="1200" dirty="0"/>
                    <a:t>187 V</a:t>
                  </a:r>
                </a:p>
              </p:txBody>
            </p:sp>
            <p:sp>
              <p:nvSpPr>
                <p:cNvPr id="24" name="ZoneTexte 94"/>
                <p:cNvSpPr txBox="1"/>
                <p:nvPr/>
              </p:nvSpPr>
              <p:spPr>
                <a:xfrm>
                  <a:off x="4120687" y="2307271"/>
                  <a:ext cx="534121" cy="479731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 sz="1200" dirty="0"/>
                    <a:t>253V</a:t>
                  </a:r>
                </a:p>
              </p:txBody>
            </p:sp>
          </p:grpSp>
          <p:sp>
            <p:nvSpPr>
              <p:cNvPr id="49" name="Text Placeholder 11"/>
              <p:cNvSpPr txBox="1">
                <a:spLocks/>
              </p:cNvSpPr>
              <p:nvPr/>
            </p:nvSpPr>
            <p:spPr bwMode="gray">
              <a:xfrm>
                <a:off x="3204402" y="1931193"/>
                <a:ext cx="2732875" cy="252000"/>
              </a:xfrm>
              <a:prstGeom prst="rect">
                <a:avLst/>
              </a:prstGeom>
            </p:spPr>
            <p:txBody>
              <a:bodyPr lIns="0" tIns="0" rIns="0" bIns="0" anchor="b" anchorCtr="0"/>
              <a:lstStyle>
                <a:lvl1pPr marL="0" indent="0" algn="l" defTabSz="914491" rtl="0" eaLnBrk="1" latinLnBrk="0" hangingPunct="1">
                  <a:spcBef>
                    <a:spcPts val="0"/>
                  </a:spcBef>
                  <a:buFont typeface="Arial" panose="020B0604020202020204" pitchFamily="34" charset="0"/>
                  <a:buNone/>
                  <a:defRPr sz="1600" b="1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1pPr>
                <a:lvl2pPr marL="0" indent="0" algn="l" defTabSz="914491" rtl="0" eaLnBrk="1" latinLnBrk="0" hangingPunct="1">
                  <a:spcBef>
                    <a:spcPts val="0"/>
                  </a:spcBef>
                  <a:buFont typeface="ABBvoiceOffice" panose="020D0603020503020204" pitchFamily="34" charset="0"/>
                  <a:buNone/>
                  <a:defRPr sz="1600" b="1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2pPr>
                <a:lvl3pPr marL="0" indent="0" algn="l" defTabSz="914491" rtl="0" eaLnBrk="1" latinLnBrk="0" hangingPunct="1">
                  <a:spcBef>
                    <a:spcPts val="0"/>
                  </a:spcBef>
                  <a:buFont typeface="Arial" panose="020B0604020202020204" pitchFamily="34" charset="0"/>
                  <a:buNone/>
                  <a:defRPr sz="1600" b="1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3pPr>
                <a:lvl4pPr marL="0" indent="0" algn="l" defTabSz="914491" rtl="0" eaLnBrk="1" latinLnBrk="0" hangingPunct="1">
                  <a:spcBef>
                    <a:spcPts val="0"/>
                  </a:spcBef>
                  <a:buFont typeface="Arial" panose="020B0604020202020204" pitchFamily="34" charset="0"/>
                  <a:buNone/>
                  <a:defRPr sz="1600" b="1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4pPr>
                <a:lvl5pPr marL="0" indent="0" algn="l" defTabSz="914491" rtl="0" eaLnBrk="1" latinLnBrk="0" hangingPunct="1">
                  <a:spcBef>
                    <a:spcPts val="0"/>
                  </a:spcBef>
                  <a:buFont typeface="Arial" panose="020B0604020202020204" pitchFamily="34" charset="0"/>
                  <a:buNone/>
                  <a:defRPr sz="1600" b="1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5pPr>
                <a:lvl6pPr marL="0" indent="0" algn="l" defTabSz="914491" rtl="0" eaLnBrk="1" latinLnBrk="0" hangingPunct="1">
                  <a:spcBef>
                    <a:spcPts val="0"/>
                  </a:spcBef>
                  <a:buFont typeface="Arial" panose="020B0604020202020204" pitchFamily="34" charset="0"/>
                  <a:buNone/>
                  <a:defRPr sz="1600" b="1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6pPr>
                <a:lvl7pPr marL="0" indent="0" algn="l" defTabSz="914491" rtl="0" eaLnBrk="1" latinLnBrk="0" hangingPunct="1">
                  <a:spcBef>
                    <a:spcPts val="0"/>
                  </a:spcBef>
                  <a:buFont typeface="Arial" panose="020B0604020202020204" pitchFamily="34" charset="0"/>
                  <a:buNone/>
                  <a:defRPr sz="1600" b="1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7pPr>
                <a:lvl8pPr marL="0" indent="0" algn="l" defTabSz="914491" rtl="0" eaLnBrk="1" latinLnBrk="0" hangingPunct="1">
                  <a:spcBef>
                    <a:spcPts val="0"/>
                  </a:spcBef>
                  <a:buFont typeface="Arial" panose="020B0604020202020204" pitchFamily="34" charset="0"/>
                  <a:buNone/>
                  <a:defRPr sz="1600" b="1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8pPr>
                <a:lvl9pPr marL="0" indent="0" algn="l" defTabSz="914491" rtl="0" eaLnBrk="1" latinLnBrk="0" hangingPunct="1">
                  <a:spcBef>
                    <a:spcPts val="0"/>
                  </a:spcBef>
                  <a:buFont typeface="Arial" panose="020B0604020202020204" pitchFamily="34" charset="0"/>
                  <a:buNone/>
                  <a:defRPr sz="1600" b="1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sz="1400" dirty="0"/>
                  <a:t>Conventional coil</a:t>
                </a:r>
              </a:p>
            </p:txBody>
          </p:sp>
          <p:cxnSp>
            <p:nvCxnSpPr>
              <p:cNvPr id="50" name="Straight Connector 49"/>
              <p:cNvCxnSpPr/>
              <p:nvPr/>
            </p:nvCxnSpPr>
            <p:spPr bwMode="gray">
              <a:xfrm>
                <a:off x="3204402" y="2238495"/>
                <a:ext cx="2732875" cy="0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3"/>
              </a:lnRef>
              <a:fillRef idx="0">
                <a:schemeClr val="accent3"/>
              </a:fillRef>
              <a:effectRef idx="0">
                <a:schemeClr val="accent3"/>
              </a:effectRef>
              <a:fontRef idx="minor">
                <a:schemeClr val="tx1"/>
              </a:fontRef>
            </p:style>
          </p:cxnSp>
        </p:grpSp>
        <p:cxnSp>
          <p:nvCxnSpPr>
            <p:cNvPr id="53" name="Straight Connector 52"/>
            <p:cNvCxnSpPr/>
            <p:nvPr/>
          </p:nvCxnSpPr>
          <p:spPr bwMode="gray">
            <a:xfrm>
              <a:off x="3093635" y="2388387"/>
              <a:ext cx="0" cy="3526641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</p:grpSp>
      <p:grpSp>
        <p:nvGrpSpPr>
          <p:cNvPr id="58" name="Group 57"/>
          <p:cNvGrpSpPr/>
          <p:nvPr/>
        </p:nvGrpSpPr>
        <p:grpSpPr>
          <a:xfrm>
            <a:off x="6048047" y="1931193"/>
            <a:ext cx="2843642" cy="3983835"/>
            <a:chOff x="6048047" y="1931193"/>
            <a:chExt cx="2843642" cy="3983835"/>
          </a:xfrm>
        </p:grpSpPr>
        <p:grpSp>
          <p:nvGrpSpPr>
            <p:cNvPr id="56" name="Group 55"/>
            <p:cNvGrpSpPr/>
            <p:nvPr/>
          </p:nvGrpSpPr>
          <p:grpSpPr>
            <a:xfrm>
              <a:off x="6158814" y="1931193"/>
              <a:ext cx="2732875" cy="3089963"/>
              <a:chOff x="6158814" y="1931193"/>
              <a:chExt cx="2732875" cy="3089963"/>
            </a:xfrm>
          </p:grpSpPr>
          <p:grpSp>
            <p:nvGrpSpPr>
              <p:cNvPr id="25" name="Group 24"/>
              <p:cNvGrpSpPr/>
              <p:nvPr/>
            </p:nvGrpSpPr>
            <p:grpSpPr>
              <a:xfrm>
                <a:off x="7028512" y="2602066"/>
                <a:ext cx="1060805" cy="2419090"/>
                <a:chOff x="6383757" y="1836415"/>
                <a:chExt cx="1060805" cy="4189588"/>
              </a:xfrm>
            </p:grpSpPr>
            <p:sp>
              <p:nvSpPr>
                <p:cNvPr id="26" name="Rectangle 25"/>
                <p:cNvSpPr/>
                <p:nvPr/>
              </p:nvSpPr>
              <p:spPr bwMode="auto">
                <a:xfrm>
                  <a:off x="6383757" y="2443018"/>
                  <a:ext cx="464535" cy="2540578"/>
                </a:xfrm>
                <a:prstGeom prst="rect">
                  <a:avLst/>
                </a:prstGeom>
                <a:solidFill>
                  <a:schemeClr val="accent4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R="0" algn="ct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70000"/>
                    <a:tabLst/>
                  </a:pPr>
                  <a:endParaRPr kumimoji="0" lang="en-US" sz="1200" b="1" i="0" u="none" strike="noStrike" cap="none" normalizeH="0" baseline="0" dirty="0">
                    <a:ln>
                      <a:noFill/>
                    </a:ln>
                    <a:solidFill>
                      <a:schemeClr val="accent1"/>
                    </a:solidFill>
                    <a:effectLst/>
                  </a:endParaRPr>
                </a:p>
              </p:txBody>
            </p:sp>
            <p:sp>
              <p:nvSpPr>
                <p:cNvPr id="27" name="Rectangle 26"/>
                <p:cNvSpPr/>
                <p:nvPr/>
              </p:nvSpPr>
              <p:spPr bwMode="auto">
                <a:xfrm>
                  <a:off x="6383757" y="1924276"/>
                  <a:ext cx="464535" cy="521479"/>
                </a:xfrm>
                <a:prstGeom prst="rect">
                  <a:avLst/>
                </a:prstGeom>
                <a:solidFill>
                  <a:schemeClr val="accent2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R="0" algn="ct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70000"/>
                    <a:tabLst/>
                  </a:pPr>
                  <a:r>
                    <a:rPr kumimoji="0" lang="en-US" sz="1200" b="0" i="0" u="none" strike="noStrike" cap="none" normalizeH="0" baseline="0" dirty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</a:rPr>
                    <a:t>+10%</a:t>
                  </a:r>
                </a:p>
              </p:txBody>
            </p:sp>
            <p:sp>
              <p:nvSpPr>
                <p:cNvPr id="28" name="Rectangle 27"/>
                <p:cNvSpPr/>
                <p:nvPr/>
              </p:nvSpPr>
              <p:spPr bwMode="auto">
                <a:xfrm>
                  <a:off x="6383757" y="4983597"/>
                  <a:ext cx="464535" cy="728803"/>
                </a:xfrm>
                <a:prstGeom prst="rect">
                  <a:avLst/>
                </a:prstGeom>
                <a:solidFill>
                  <a:schemeClr val="accent2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eaLnBrk="1" hangingPunct="1">
                    <a:spcBef>
                      <a:spcPct val="50000"/>
                    </a:spcBef>
                    <a:buClr>
                      <a:schemeClr val="tx2"/>
                    </a:buClr>
                    <a:buSzPct val="70000"/>
                  </a:pPr>
                  <a:r>
                    <a:rPr lang="en-US" sz="1200" dirty="0">
                      <a:solidFill>
                        <a:schemeClr val="bg1"/>
                      </a:solidFill>
                    </a:rPr>
                    <a:t>-15% </a:t>
                  </a:r>
                </a:p>
              </p:txBody>
            </p:sp>
            <p:cxnSp>
              <p:nvCxnSpPr>
                <p:cNvPr id="29" name="Connecteur droit 99"/>
                <p:cNvCxnSpPr/>
                <p:nvPr/>
              </p:nvCxnSpPr>
              <p:spPr bwMode="auto">
                <a:xfrm>
                  <a:off x="6383757" y="5712400"/>
                  <a:ext cx="519042" cy="0"/>
                </a:xfrm>
                <a:prstGeom prst="line">
                  <a:avLst/>
                </a:prstGeom>
                <a:solidFill>
                  <a:schemeClr val="folHlink"/>
                </a:solidFill>
                <a:ln w="952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30" name="Connecteur droit 100"/>
                <p:cNvCxnSpPr/>
                <p:nvPr/>
              </p:nvCxnSpPr>
              <p:spPr bwMode="auto">
                <a:xfrm>
                  <a:off x="6383757" y="4983597"/>
                  <a:ext cx="519042" cy="0"/>
                </a:xfrm>
                <a:prstGeom prst="line">
                  <a:avLst/>
                </a:prstGeom>
                <a:solidFill>
                  <a:schemeClr val="folHlink"/>
                </a:solidFill>
                <a:ln w="952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31" name="Connecteur droit 101"/>
                <p:cNvCxnSpPr/>
                <p:nvPr/>
              </p:nvCxnSpPr>
              <p:spPr bwMode="auto">
                <a:xfrm>
                  <a:off x="6383757" y="2445755"/>
                  <a:ext cx="519042" cy="0"/>
                </a:xfrm>
                <a:prstGeom prst="line">
                  <a:avLst/>
                </a:prstGeom>
                <a:solidFill>
                  <a:schemeClr val="folHlink"/>
                </a:solidFill>
                <a:ln w="952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32" name="Connecteur droit 102"/>
                <p:cNvCxnSpPr/>
                <p:nvPr/>
              </p:nvCxnSpPr>
              <p:spPr bwMode="auto">
                <a:xfrm>
                  <a:off x="6383757" y="1924276"/>
                  <a:ext cx="519042" cy="0"/>
                </a:xfrm>
                <a:prstGeom prst="line">
                  <a:avLst/>
                </a:prstGeom>
                <a:solidFill>
                  <a:schemeClr val="folHlink"/>
                </a:solidFill>
                <a:ln w="952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sp>
              <p:nvSpPr>
                <p:cNvPr id="33" name="ZoneTexte 103"/>
                <p:cNvSpPr txBox="1"/>
                <p:nvPr/>
              </p:nvSpPr>
              <p:spPr>
                <a:xfrm>
                  <a:off x="6860748" y="2276660"/>
                  <a:ext cx="583814" cy="479731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 sz="1200" dirty="0">
                      <a:solidFill>
                        <a:schemeClr val="accent2"/>
                      </a:solidFill>
                    </a:rPr>
                    <a:t>250 V</a:t>
                  </a:r>
                </a:p>
              </p:txBody>
            </p:sp>
            <p:sp>
              <p:nvSpPr>
                <p:cNvPr id="34" name="ZoneTexte 104"/>
                <p:cNvSpPr txBox="1"/>
                <p:nvPr/>
              </p:nvSpPr>
              <p:spPr>
                <a:xfrm>
                  <a:off x="6860748" y="4818099"/>
                  <a:ext cx="580608" cy="479731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 sz="1200" dirty="0">
                      <a:solidFill>
                        <a:schemeClr val="accent2"/>
                      </a:solidFill>
                    </a:rPr>
                    <a:t>100 V</a:t>
                  </a:r>
                </a:p>
              </p:txBody>
            </p:sp>
            <p:sp>
              <p:nvSpPr>
                <p:cNvPr id="35" name="ZoneTexte 105"/>
                <p:cNvSpPr txBox="1"/>
                <p:nvPr/>
              </p:nvSpPr>
              <p:spPr>
                <a:xfrm>
                  <a:off x="6860748" y="5546272"/>
                  <a:ext cx="497252" cy="479731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 sz="1200" dirty="0"/>
                    <a:t>85 V</a:t>
                  </a:r>
                </a:p>
              </p:txBody>
            </p:sp>
            <p:sp>
              <p:nvSpPr>
                <p:cNvPr id="36" name="ZoneTexte 106"/>
                <p:cNvSpPr txBox="1"/>
                <p:nvPr/>
              </p:nvSpPr>
              <p:spPr>
                <a:xfrm>
                  <a:off x="6860748" y="1836415"/>
                  <a:ext cx="530915" cy="479731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 sz="1200" dirty="0"/>
                    <a:t>275V</a:t>
                  </a:r>
                </a:p>
              </p:txBody>
            </p:sp>
          </p:grpSp>
          <p:sp>
            <p:nvSpPr>
              <p:cNvPr id="51" name="Text Placeholder 11"/>
              <p:cNvSpPr txBox="1">
                <a:spLocks/>
              </p:cNvSpPr>
              <p:nvPr/>
            </p:nvSpPr>
            <p:spPr bwMode="gray">
              <a:xfrm>
                <a:off x="6158814" y="1931193"/>
                <a:ext cx="2732875" cy="252000"/>
              </a:xfrm>
              <a:prstGeom prst="rect">
                <a:avLst/>
              </a:prstGeom>
            </p:spPr>
            <p:txBody>
              <a:bodyPr lIns="0" tIns="0" rIns="0" bIns="0" anchor="b" anchorCtr="0"/>
              <a:lstStyle>
                <a:lvl1pPr marL="0" indent="0" algn="l" defTabSz="914491" rtl="0" eaLnBrk="1" latinLnBrk="0" hangingPunct="1">
                  <a:spcBef>
                    <a:spcPts val="0"/>
                  </a:spcBef>
                  <a:buFont typeface="Arial" panose="020B0604020202020204" pitchFamily="34" charset="0"/>
                  <a:buNone/>
                  <a:defRPr sz="1600" b="1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1pPr>
                <a:lvl2pPr marL="0" indent="0" algn="l" defTabSz="914491" rtl="0" eaLnBrk="1" latinLnBrk="0" hangingPunct="1">
                  <a:spcBef>
                    <a:spcPts val="0"/>
                  </a:spcBef>
                  <a:buFont typeface="ABBvoiceOffice" panose="020D0603020503020204" pitchFamily="34" charset="0"/>
                  <a:buNone/>
                  <a:defRPr sz="1600" b="1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2pPr>
                <a:lvl3pPr marL="0" indent="0" algn="l" defTabSz="914491" rtl="0" eaLnBrk="1" latinLnBrk="0" hangingPunct="1">
                  <a:spcBef>
                    <a:spcPts val="0"/>
                  </a:spcBef>
                  <a:buFont typeface="Arial" panose="020B0604020202020204" pitchFamily="34" charset="0"/>
                  <a:buNone/>
                  <a:defRPr sz="1600" b="1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3pPr>
                <a:lvl4pPr marL="0" indent="0" algn="l" defTabSz="914491" rtl="0" eaLnBrk="1" latinLnBrk="0" hangingPunct="1">
                  <a:spcBef>
                    <a:spcPts val="0"/>
                  </a:spcBef>
                  <a:buFont typeface="Arial" panose="020B0604020202020204" pitchFamily="34" charset="0"/>
                  <a:buNone/>
                  <a:defRPr sz="1600" b="1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4pPr>
                <a:lvl5pPr marL="0" indent="0" algn="l" defTabSz="914491" rtl="0" eaLnBrk="1" latinLnBrk="0" hangingPunct="1">
                  <a:spcBef>
                    <a:spcPts val="0"/>
                  </a:spcBef>
                  <a:buFont typeface="Arial" panose="020B0604020202020204" pitchFamily="34" charset="0"/>
                  <a:buNone/>
                  <a:defRPr sz="1600" b="1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5pPr>
                <a:lvl6pPr marL="0" indent="0" algn="l" defTabSz="914491" rtl="0" eaLnBrk="1" latinLnBrk="0" hangingPunct="1">
                  <a:spcBef>
                    <a:spcPts val="0"/>
                  </a:spcBef>
                  <a:buFont typeface="Arial" panose="020B0604020202020204" pitchFamily="34" charset="0"/>
                  <a:buNone/>
                  <a:defRPr sz="1600" b="1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6pPr>
                <a:lvl7pPr marL="0" indent="0" algn="l" defTabSz="914491" rtl="0" eaLnBrk="1" latinLnBrk="0" hangingPunct="1">
                  <a:spcBef>
                    <a:spcPts val="0"/>
                  </a:spcBef>
                  <a:buFont typeface="Arial" panose="020B0604020202020204" pitchFamily="34" charset="0"/>
                  <a:buNone/>
                  <a:defRPr sz="1600" b="1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7pPr>
                <a:lvl8pPr marL="0" indent="0" algn="l" defTabSz="914491" rtl="0" eaLnBrk="1" latinLnBrk="0" hangingPunct="1">
                  <a:spcBef>
                    <a:spcPts val="0"/>
                  </a:spcBef>
                  <a:buFont typeface="Arial" panose="020B0604020202020204" pitchFamily="34" charset="0"/>
                  <a:buNone/>
                  <a:defRPr sz="1600" b="1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8pPr>
                <a:lvl9pPr marL="0" indent="0" algn="l" defTabSz="914491" rtl="0" eaLnBrk="1" latinLnBrk="0" hangingPunct="1">
                  <a:spcBef>
                    <a:spcPts val="0"/>
                  </a:spcBef>
                  <a:buFont typeface="Arial" panose="020B0604020202020204" pitchFamily="34" charset="0"/>
                  <a:buNone/>
                  <a:defRPr sz="1600" b="1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sz="1400" dirty="0"/>
                  <a:t>AF coil</a:t>
                </a:r>
              </a:p>
            </p:txBody>
          </p:sp>
          <p:cxnSp>
            <p:nvCxnSpPr>
              <p:cNvPr id="52" name="Straight Connector 51"/>
              <p:cNvCxnSpPr/>
              <p:nvPr/>
            </p:nvCxnSpPr>
            <p:spPr bwMode="gray">
              <a:xfrm>
                <a:off x="6158814" y="2238495"/>
                <a:ext cx="2732875" cy="0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3"/>
              </a:lnRef>
              <a:fillRef idx="0">
                <a:schemeClr val="accent3"/>
              </a:fillRef>
              <a:effectRef idx="0">
                <a:schemeClr val="accent3"/>
              </a:effectRef>
              <a:fontRef idx="minor">
                <a:schemeClr val="tx1"/>
              </a:fontRef>
            </p:style>
          </p:cxnSp>
        </p:grpSp>
        <p:cxnSp>
          <p:nvCxnSpPr>
            <p:cNvPr id="54" name="Straight Connector 53"/>
            <p:cNvCxnSpPr/>
            <p:nvPr/>
          </p:nvCxnSpPr>
          <p:spPr bwMode="gray">
            <a:xfrm>
              <a:off x="6048047" y="2388387"/>
              <a:ext cx="0" cy="3526641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</p:grpSp>
      <p:cxnSp>
        <p:nvCxnSpPr>
          <p:cNvPr id="55" name="Straight Connector 54"/>
          <p:cNvCxnSpPr/>
          <p:nvPr/>
        </p:nvCxnSpPr>
        <p:spPr bwMode="gray">
          <a:xfrm>
            <a:off x="247610" y="2238495"/>
            <a:ext cx="273287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44476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77589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inuous operation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lvl="8"/>
            <a:r>
              <a:rPr lang="en-US" sz="800" dirty="0"/>
              <a:t>Drop-out at around</a:t>
            </a:r>
          </a:p>
          <a:p>
            <a:pPr lvl="8"/>
            <a:r>
              <a:rPr lang="en-US" sz="800" dirty="0"/>
              <a:t>Uc x 75% with AC coil</a:t>
            </a:r>
          </a:p>
          <a:p>
            <a:pPr lvl="8"/>
            <a:r>
              <a:rPr lang="en-US" sz="800" dirty="0"/>
              <a:t>Depends of number of accessories, mounting position, …</a:t>
            </a:r>
          </a:p>
          <a:p>
            <a:pPr lvl="8"/>
            <a:r>
              <a:rPr lang="en-US" sz="800" dirty="0"/>
              <a:t>It is an is an uncertainty area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4094DB61-25C8-4EF5-ACA6-394B43063948}" type="datetime4">
              <a:rPr lang="en-US" smtClean="0"/>
              <a:t>December 14, 2020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/>
          </p:nvPr>
        </p:nvSpPr>
        <p:spPr/>
        <p:txBody>
          <a:bodyPr anchor="b" anchorCtr="0"/>
          <a:lstStyle/>
          <a:p>
            <a:r>
              <a:rPr lang="en-US" sz="1400" dirty="0"/>
              <a:t>IEC 60947-1 requirement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4"/>
          </p:nvPr>
        </p:nvSpPr>
        <p:spPr/>
        <p:txBody>
          <a:bodyPr anchor="b" anchorCtr="0"/>
          <a:lstStyle/>
          <a:p>
            <a:r>
              <a:rPr lang="en-US" sz="1400" dirty="0"/>
              <a:t>Conventional coi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26"/>
          </p:nvPr>
        </p:nvSpPr>
        <p:spPr/>
        <p:txBody>
          <a:bodyPr anchor="b" anchorCtr="0"/>
          <a:lstStyle/>
          <a:p>
            <a:r>
              <a:rPr lang="en-US" sz="1400" dirty="0"/>
              <a:t>AF coil</a:t>
            </a:r>
          </a:p>
        </p:txBody>
      </p:sp>
      <p:sp>
        <p:nvSpPr>
          <p:cNvPr id="12" name="Subtitle 11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US" dirty="0"/>
              <a:t>Drop-out zone</a:t>
            </a:r>
          </a:p>
        </p:txBody>
      </p:sp>
      <p:grpSp>
        <p:nvGrpSpPr>
          <p:cNvPr id="49" name="Groupe 25"/>
          <p:cNvGrpSpPr/>
          <p:nvPr/>
        </p:nvGrpSpPr>
        <p:grpSpPr>
          <a:xfrm>
            <a:off x="7028346" y="4511053"/>
            <a:ext cx="1543645" cy="905171"/>
            <a:chOff x="6378994" y="5378606"/>
            <a:chExt cx="1543645" cy="905171"/>
          </a:xfrm>
        </p:grpSpPr>
        <p:grpSp>
          <p:nvGrpSpPr>
            <p:cNvPr id="51" name="Groupe 15"/>
            <p:cNvGrpSpPr/>
            <p:nvPr/>
          </p:nvGrpSpPr>
          <p:grpSpPr>
            <a:xfrm>
              <a:off x="6378994" y="5712400"/>
              <a:ext cx="1543645" cy="571377"/>
              <a:chOff x="6378994" y="5712400"/>
              <a:chExt cx="1543645" cy="571377"/>
            </a:xfrm>
          </p:grpSpPr>
          <p:grpSp>
            <p:nvGrpSpPr>
              <p:cNvPr id="53" name="Groupe 12"/>
              <p:cNvGrpSpPr/>
              <p:nvPr/>
            </p:nvGrpSpPr>
            <p:grpSpPr>
              <a:xfrm>
                <a:off x="6378994" y="5712400"/>
                <a:ext cx="987021" cy="571377"/>
                <a:chOff x="6378994" y="5712400"/>
                <a:chExt cx="987021" cy="571377"/>
              </a:xfrm>
            </p:grpSpPr>
            <p:sp>
              <p:nvSpPr>
                <p:cNvPr id="55" name="Rectangle 54"/>
                <p:cNvSpPr/>
                <p:nvPr/>
              </p:nvSpPr>
              <p:spPr bwMode="auto">
                <a:xfrm>
                  <a:off x="6378994" y="5712400"/>
                  <a:ext cx="464536" cy="467838"/>
                </a:xfrm>
                <a:prstGeom prst="rect">
                  <a:avLst/>
                </a:prstGeom>
                <a:solidFill>
                  <a:schemeClr val="accent2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eaLnBrk="1" hangingPunct="1">
                    <a:spcBef>
                      <a:spcPct val="50000"/>
                    </a:spcBef>
                    <a:buClr>
                      <a:schemeClr val="tx2"/>
                    </a:buClr>
                    <a:buSzPct val="70000"/>
                  </a:pPr>
                  <a:endParaRPr lang="en-US" sz="1200" dirty="0"/>
                </a:p>
              </p:txBody>
            </p:sp>
            <p:sp>
              <p:nvSpPr>
                <p:cNvPr id="56" name="ZoneTexte 79"/>
                <p:cNvSpPr txBox="1"/>
                <p:nvPr/>
              </p:nvSpPr>
              <p:spPr>
                <a:xfrm>
                  <a:off x="6860748" y="6006778"/>
                  <a:ext cx="505267" cy="276999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 sz="1200" dirty="0"/>
                    <a:t>60 V</a:t>
                  </a:r>
                </a:p>
              </p:txBody>
            </p:sp>
            <p:cxnSp>
              <p:nvCxnSpPr>
                <p:cNvPr id="57" name="Connecteur droit 94"/>
                <p:cNvCxnSpPr/>
                <p:nvPr/>
              </p:nvCxnSpPr>
              <p:spPr bwMode="auto">
                <a:xfrm>
                  <a:off x="6396212" y="6180238"/>
                  <a:ext cx="519042" cy="0"/>
                </a:xfrm>
                <a:prstGeom prst="line">
                  <a:avLst/>
                </a:prstGeom>
                <a:solidFill>
                  <a:schemeClr val="folHlink"/>
                </a:solidFill>
                <a:ln w="952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sp>
            <p:nvSpPr>
              <p:cNvPr id="54" name="ZoneTexte 74"/>
              <p:cNvSpPr txBox="1"/>
              <p:nvPr/>
            </p:nvSpPr>
            <p:spPr>
              <a:xfrm>
                <a:off x="7415769" y="5781156"/>
                <a:ext cx="506870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200" dirty="0">
                    <a:solidFill>
                      <a:schemeClr val="accent2"/>
                    </a:solidFill>
                  </a:rPr>
                  <a:t>Safe</a:t>
                </a:r>
              </a:p>
            </p:txBody>
          </p:sp>
        </p:grpSp>
        <p:cxnSp>
          <p:nvCxnSpPr>
            <p:cNvPr id="52" name="Connecteur droit avec flèche 24"/>
            <p:cNvCxnSpPr/>
            <p:nvPr/>
          </p:nvCxnSpPr>
          <p:spPr bwMode="auto">
            <a:xfrm>
              <a:off x="7426991" y="5378606"/>
              <a:ext cx="0" cy="805100"/>
            </a:xfrm>
            <a:prstGeom prst="straightConnector1">
              <a:avLst/>
            </a:prstGeom>
            <a:solidFill>
              <a:schemeClr val="folHlink"/>
            </a:solidFill>
            <a:ln w="1905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arrow" w="med" len="sm"/>
            </a:ln>
            <a:effectLst/>
          </p:spPr>
        </p:cxnSp>
      </p:grpSp>
      <p:grpSp>
        <p:nvGrpSpPr>
          <p:cNvPr id="48" name="Group 47"/>
          <p:cNvGrpSpPr/>
          <p:nvPr/>
        </p:nvGrpSpPr>
        <p:grpSpPr>
          <a:xfrm>
            <a:off x="1096772" y="3560442"/>
            <a:ext cx="4714534" cy="989507"/>
            <a:chOff x="1096772" y="3560442"/>
            <a:chExt cx="4714534" cy="989507"/>
          </a:xfrm>
        </p:grpSpPr>
        <p:grpSp>
          <p:nvGrpSpPr>
            <p:cNvPr id="59" name="Groupe 11"/>
            <p:cNvGrpSpPr/>
            <p:nvPr/>
          </p:nvGrpSpPr>
          <p:grpSpPr>
            <a:xfrm>
              <a:off x="4066947" y="3716777"/>
              <a:ext cx="1744359" cy="833172"/>
              <a:chOff x="3628860" y="4222131"/>
              <a:chExt cx="1744359" cy="833172"/>
            </a:xfrm>
          </p:grpSpPr>
          <p:sp>
            <p:nvSpPr>
              <p:cNvPr id="65" name="Rectangle 64"/>
              <p:cNvSpPr/>
              <p:nvPr/>
            </p:nvSpPr>
            <p:spPr bwMode="auto">
              <a:xfrm>
                <a:off x="3628860" y="4222131"/>
                <a:ext cx="464536" cy="728803"/>
              </a:xfrm>
              <a:prstGeom prst="rect">
                <a:avLst/>
              </a:prstGeom>
              <a:solidFill>
                <a:schemeClr val="accent3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eaLnBrk="1" hangingPunct="1">
                  <a:spcBef>
                    <a:spcPct val="50000"/>
                  </a:spcBef>
                  <a:buClr>
                    <a:schemeClr val="tx2"/>
                  </a:buClr>
                  <a:buSzPct val="70000"/>
                </a:pPr>
                <a:r>
                  <a:rPr lang="en-US" sz="2400" b="1" dirty="0">
                    <a:solidFill>
                      <a:sysClr val="windowText" lastClr="000000"/>
                    </a:solidFill>
                  </a:rPr>
                  <a:t>!</a:t>
                </a:r>
              </a:p>
            </p:txBody>
          </p:sp>
          <p:sp>
            <p:nvSpPr>
              <p:cNvPr id="66" name="ZoneTexte 76"/>
              <p:cNvSpPr txBox="1"/>
              <p:nvPr/>
            </p:nvSpPr>
            <p:spPr>
              <a:xfrm>
                <a:off x="4120687" y="4778304"/>
                <a:ext cx="567784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200" dirty="0">
                    <a:solidFill>
                      <a:srgbClr val="070000"/>
                    </a:solidFill>
                  </a:rPr>
                  <a:t>165 V</a:t>
                </a:r>
              </a:p>
            </p:txBody>
          </p:sp>
          <p:cxnSp>
            <p:nvCxnSpPr>
              <p:cNvPr id="67" name="Connecteur droit 97"/>
              <p:cNvCxnSpPr/>
              <p:nvPr/>
            </p:nvCxnSpPr>
            <p:spPr bwMode="auto">
              <a:xfrm>
                <a:off x="3631241" y="4950935"/>
                <a:ext cx="519042" cy="0"/>
              </a:xfrm>
              <a:prstGeom prst="line">
                <a:avLst/>
              </a:prstGeom>
              <a:solidFill>
                <a:schemeClr val="folHlink"/>
              </a:solidFill>
              <a:ln w="952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68" name="ZoneTexte 6"/>
              <p:cNvSpPr txBox="1"/>
              <p:nvPr/>
            </p:nvSpPr>
            <p:spPr>
              <a:xfrm>
                <a:off x="4476820" y="4412432"/>
                <a:ext cx="896399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200" dirty="0">
                    <a:solidFill>
                      <a:schemeClr val="bg1">
                        <a:lumMod val="50000"/>
                      </a:schemeClr>
                    </a:solidFill>
                  </a:rPr>
                  <a:t>Uncertain</a:t>
                </a:r>
              </a:p>
            </p:txBody>
          </p:sp>
        </p:grpSp>
        <p:grpSp>
          <p:nvGrpSpPr>
            <p:cNvPr id="60" name="Groupe 10"/>
            <p:cNvGrpSpPr/>
            <p:nvPr/>
          </p:nvGrpSpPr>
          <p:grpSpPr>
            <a:xfrm>
              <a:off x="1096772" y="3560442"/>
              <a:ext cx="1740769" cy="833171"/>
              <a:chOff x="1477772" y="4046746"/>
              <a:chExt cx="1740769" cy="833171"/>
            </a:xfrm>
          </p:grpSpPr>
          <p:sp>
            <p:nvSpPr>
              <p:cNvPr id="61" name="Rectangle 60"/>
              <p:cNvSpPr/>
              <p:nvPr/>
            </p:nvSpPr>
            <p:spPr bwMode="auto">
              <a:xfrm>
                <a:off x="1477772" y="4046746"/>
                <a:ext cx="464536" cy="728803"/>
              </a:xfrm>
              <a:prstGeom prst="rect">
                <a:avLst/>
              </a:prstGeom>
              <a:solidFill>
                <a:schemeClr val="accent3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eaLnBrk="1" hangingPunct="1">
                  <a:spcBef>
                    <a:spcPct val="50000"/>
                  </a:spcBef>
                  <a:buClr>
                    <a:schemeClr val="tx2"/>
                  </a:buClr>
                  <a:buSzPct val="70000"/>
                </a:pPr>
                <a:r>
                  <a:rPr lang="en-US" sz="2400" b="1" dirty="0">
                    <a:solidFill>
                      <a:sysClr val="windowText" lastClr="000000"/>
                    </a:solidFill>
                  </a:rPr>
                  <a:t>!</a:t>
                </a:r>
              </a:p>
            </p:txBody>
          </p:sp>
          <p:sp>
            <p:nvSpPr>
              <p:cNvPr id="62" name="ZoneTexte 73"/>
              <p:cNvSpPr txBox="1"/>
              <p:nvPr/>
            </p:nvSpPr>
            <p:spPr>
              <a:xfrm>
                <a:off x="1966013" y="4602918"/>
                <a:ext cx="551754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200" dirty="0">
                    <a:solidFill>
                      <a:srgbClr val="070000"/>
                    </a:solidFill>
                  </a:rPr>
                  <a:t>173 V</a:t>
                </a:r>
              </a:p>
            </p:txBody>
          </p:sp>
          <p:cxnSp>
            <p:nvCxnSpPr>
              <p:cNvPr id="63" name="Connecteur droit 96"/>
              <p:cNvCxnSpPr/>
              <p:nvPr/>
            </p:nvCxnSpPr>
            <p:spPr bwMode="auto">
              <a:xfrm>
                <a:off x="1477772" y="4775550"/>
                <a:ext cx="519042" cy="0"/>
              </a:xfrm>
              <a:prstGeom prst="line">
                <a:avLst/>
              </a:prstGeom>
              <a:solidFill>
                <a:schemeClr val="folHlink"/>
              </a:solidFill>
              <a:ln w="952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64" name="ZoneTexte 66"/>
              <p:cNvSpPr txBox="1"/>
              <p:nvPr/>
            </p:nvSpPr>
            <p:spPr>
              <a:xfrm>
                <a:off x="2322142" y="4249360"/>
                <a:ext cx="896399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200" dirty="0">
                    <a:solidFill>
                      <a:schemeClr val="bg1">
                        <a:lumMod val="50000"/>
                      </a:schemeClr>
                    </a:solidFill>
                  </a:rPr>
                  <a:t>Uncertain</a:t>
                </a:r>
              </a:p>
            </p:txBody>
          </p:sp>
        </p:grpSp>
      </p:grpSp>
      <p:grpSp>
        <p:nvGrpSpPr>
          <p:cNvPr id="50" name="Group 49"/>
          <p:cNvGrpSpPr/>
          <p:nvPr/>
        </p:nvGrpSpPr>
        <p:grpSpPr>
          <a:xfrm>
            <a:off x="1097245" y="2602066"/>
            <a:ext cx="6992072" cy="2419090"/>
            <a:chOff x="1097245" y="2602065"/>
            <a:chExt cx="6992072" cy="4189588"/>
          </a:xfrm>
        </p:grpSpPr>
        <p:grpSp>
          <p:nvGrpSpPr>
            <p:cNvPr id="13" name="Group 12"/>
            <p:cNvGrpSpPr/>
            <p:nvPr/>
          </p:nvGrpSpPr>
          <p:grpSpPr>
            <a:xfrm>
              <a:off x="4067873" y="2602065"/>
              <a:ext cx="1068451" cy="2151465"/>
              <a:chOff x="3631241" y="2307271"/>
              <a:chExt cx="1068451" cy="2151465"/>
            </a:xfrm>
          </p:grpSpPr>
          <p:sp>
            <p:nvSpPr>
              <p:cNvPr id="14" name="Rectangle 13"/>
              <p:cNvSpPr/>
              <p:nvPr/>
            </p:nvSpPr>
            <p:spPr bwMode="auto">
              <a:xfrm>
                <a:off x="3631241" y="2884999"/>
                <a:ext cx="464535" cy="608330"/>
              </a:xfrm>
              <a:prstGeom prst="rect">
                <a:avLst/>
              </a:prstGeom>
              <a:solidFill>
                <a:schemeClr val="accent4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R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chemeClr val="tx2"/>
                  </a:buClr>
                  <a:buSzPct val="70000"/>
                  <a:tabLst/>
                </a:pPr>
                <a:endParaRPr kumimoji="0" lang="en-US" sz="1200" b="1" i="0" u="none" strike="noStrike" cap="none" normalizeH="0" baseline="0" dirty="0">
                  <a:ln>
                    <a:noFill/>
                  </a:ln>
                  <a:solidFill>
                    <a:schemeClr val="accent1"/>
                  </a:solidFill>
                  <a:effectLst/>
                </a:endParaRPr>
              </a:p>
            </p:txBody>
          </p:sp>
          <p:sp>
            <p:nvSpPr>
              <p:cNvPr id="15" name="Rectangle 14"/>
              <p:cNvSpPr/>
              <p:nvPr/>
            </p:nvSpPr>
            <p:spPr bwMode="auto">
              <a:xfrm>
                <a:off x="3631241" y="2366257"/>
                <a:ext cx="464535" cy="521479"/>
              </a:xfrm>
              <a:prstGeom prst="rect">
                <a:avLst/>
              </a:prstGeom>
              <a:solidFill>
                <a:schemeClr val="accent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R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chemeClr val="tx2"/>
                  </a:buClr>
                  <a:buSzPct val="70000"/>
                  <a:tabLst/>
                </a:pPr>
                <a:r>
                  <a:rPr kumimoji="0" lang="en-US" sz="1200" b="0" i="0" u="none" strike="noStrike" cap="none" normalizeH="0" baseline="0" dirty="0">
                    <a:ln>
                      <a:noFill/>
                    </a:ln>
                    <a:solidFill>
                      <a:schemeClr val="bg1"/>
                    </a:solidFill>
                    <a:effectLst/>
                  </a:rPr>
                  <a:t>+10%</a:t>
                </a:r>
              </a:p>
            </p:txBody>
          </p:sp>
          <p:sp>
            <p:nvSpPr>
              <p:cNvPr id="16" name="Rectangle 15"/>
              <p:cNvSpPr/>
              <p:nvPr/>
            </p:nvSpPr>
            <p:spPr bwMode="auto">
              <a:xfrm>
                <a:off x="3631241" y="3493330"/>
                <a:ext cx="464535" cy="728803"/>
              </a:xfrm>
              <a:prstGeom prst="rect">
                <a:avLst/>
              </a:prstGeom>
              <a:solidFill>
                <a:schemeClr val="accent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eaLnBrk="1" hangingPunct="1">
                  <a:spcBef>
                    <a:spcPct val="50000"/>
                  </a:spcBef>
                  <a:buClr>
                    <a:schemeClr val="tx2"/>
                  </a:buClr>
                  <a:buSzPct val="70000"/>
                </a:pPr>
                <a:r>
                  <a:rPr lang="en-US" sz="1200" dirty="0">
                    <a:solidFill>
                      <a:schemeClr val="bg1"/>
                    </a:solidFill>
                  </a:rPr>
                  <a:t>-15% </a:t>
                </a:r>
              </a:p>
            </p:txBody>
          </p:sp>
          <p:cxnSp>
            <p:nvCxnSpPr>
              <p:cNvPr id="17" name="Connecteur droit 87"/>
              <p:cNvCxnSpPr/>
              <p:nvPr/>
            </p:nvCxnSpPr>
            <p:spPr bwMode="auto">
              <a:xfrm>
                <a:off x="3631241" y="4222133"/>
                <a:ext cx="519042" cy="0"/>
              </a:xfrm>
              <a:prstGeom prst="line">
                <a:avLst/>
              </a:prstGeom>
              <a:solidFill>
                <a:schemeClr val="folHlink"/>
              </a:solidFill>
              <a:ln w="952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8" name="Connecteur droit 88"/>
              <p:cNvCxnSpPr/>
              <p:nvPr/>
            </p:nvCxnSpPr>
            <p:spPr bwMode="auto">
              <a:xfrm>
                <a:off x="3631241" y="3493330"/>
                <a:ext cx="519042" cy="0"/>
              </a:xfrm>
              <a:prstGeom prst="line">
                <a:avLst/>
              </a:prstGeom>
              <a:solidFill>
                <a:schemeClr val="folHlink"/>
              </a:solidFill>
              <a:ln w="952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9" name="Connecteur droit 89"/>
              <p:cNvCxnSpPr/>
              <p:nvPr/>
            </p:nvCxnSpPr>
            <p:spPr bwMode="auto">
              <a:xfrm>
                <a:off x="3631241" y="2887736"/>
                <a:ext cx="519042" cy="0"/>
              </a:xfrm>
              <a:prstGeom prst="line">
                <a:avLst/>
              </a:prstGeom>
              <a:solidFill>
                <a:schemeClr val="folHlink"/>
              </a:solidFill>
              <a:ln w="952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0" name="Connecteur droit 90"/>
              <p:cNvCxnSpPr/>
              <p:nvPr/>
            </p:nvCxnSpPr>
            <p:spPr bwMode="auto">
              <a:xfrm>
                <a:off x="3631241" y="2366257"/>
                <a:ext cx="519042" cy="0"/>
              </a:xfrm>
              <a:prstGeom prst="line">
                <a:avLst/>
              </a:prstGeom>
              <a:solidFill>
                <a:schemeClr val="folHlink"/>
              </a:solidFill>
              <a:ln w="952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21" name="ZoneTexte 91"/>
              <p:cNvSpPr txBox="1"/>
              <p:nvPr/>
            </p:nvSpPr>
            <p:spPr>
              <a:xfrm>
                <a:off x="4120687" y="2718641"/>
                <a:ext cx="579005" cy="4797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200" dirty="0">
                    <a:solidFill>
                      <a:schemeClr val="accent2"/>
                    </a:solidFill>
                  </a:rPr>
                  <a:t>230 V</a:t>
                </a:r>
              </a:p>
            </p:txBody>
          </p:sp>
          <p:sp>
            <p:nvSpPr>
              <p:cNvPr id="22" name="ZoneTexte 92"/>
              <p:cNvSpPr txBox="1"/>
              <p:nvPr/>
            </p:nvSpPr>
            <p:spPr>
              <a:xfrm>
                <a:off x="4120687" y="3327832"/>
                <a:ext cx="577402" cy="4797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200" dirty="0">
                    <a:solidFill>
                      <a:schemeClr val="accent2"/>
                    </a:solidFill>
                  </a:rPr>
                  <a:t>220 V</a:t>
                </a:r>
              </a:p>
            </p:txBody>
          </p:sp>
          <p:sp>
            <p:nvSpPr>
              <p:cNvPr id="23" name="ZoneTexte 93"/>
              <p:cNvSpPr txBox="1"/>
              <p:nvPr/>
            </p:nvSpPr>
            <p:spPr>
              <a:xfrm>
                <a:off x="4120687" y="3979005"/>
                <a:ext cx="559769" cy="4797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200" dirty="0"/>
                  <a:t>187 V</a:t>
                </a:r>
              </a:p>
            </p:txBody>
          </p:sp>
          <p:sp>
            <p:nvSpPr>
              <p:cNvPr id="24" name="ZoneTexte 94"/>
              <p:cNvSpPr txBox="1"/>
              <p:nvPr/>
            </p:nvSpPr>
            <p:spPr>
              <a:xfrm>
                <a:off x="4120687" y="2307271"/>
                <a:ext cx="534121" cy="4797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200" dirty="0"/>
                  <a:t>253V</a:t>
                </a:r>
              </a:p>
            </p:txBody>
          </p:sp>
        </p:grpSp>
        <p:grpSp>
          <p:nvGrpSpPr>
            <p:cNvPr id="25" name="Group 24"/>
            <p:cNvGrpSpPr/>
            <p:nvPr/>
          </p:nvGrpSpPr>
          <p:grpSpPr>
            <a:xfrm>
              <a:off x="7028512" y="2602065"/>
              <a:ext cx="1060805" cy="4189588"/>
              <a:chOff x="6383757" y="1836415"/>
              <a:chExt cx="1060805" cy="4189588"/>
            </a:xfrm>
          </p:grpSpPr>
          <p:sp>
            <p:nvSpPr>
              <p:cNvPr id="26" name="Rectangle 25"/>
              <p:cNvSpPr/>
              <p:nvPr/>
            </p:nvSpPr>
            <p:spPr bwMode="auto">
              <a:xfrm>
                <a:off x="6383757" y="2443018"/>
                <a:ext cx="464535" cy="2540578"/>
              </a:xfrm>
              <a:prstGeom prst="rect">
                <a:avLst/>
              </a:prstGeom>
              <a:solidFill>
                <a:schemeClr val="accent4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R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chemeClr val="tx2"/>
                  </a:buClr>
                  <a:buSzPct val="70000"/>
                  <a:tabLst/>
                </a:pPr>
                <a:endParaRPr kumimoji="0" lang="en-US" sz="1200" b="1" i="0" u="none" strike="noStrike" cap="none" normalizeH="0" baseline="0" dirty="0">
                  <a:ln>
                    <a:noFill/>
                  </a:ln>
                  <a:solidFill>
                    <a:schemeClr val="accent1"/>
                  </a:solidFill>
                  <a:effectLst/>
                </a:endParaRPr>
              </a:p>
            </p:txBody>
          </p:sp>
          <p:sp>
            <p:nvSpPr>
              <p:cNvPr id="27" name="Rectangle 26"/>
              <p:cNvSpPr/>
              <p:nvPr/>
            </p:nvSpPr>
            <p:spPr bwMode="auto">
              <a:xfrm>
                <a:off x="6383757" y="1924276"/>
                <a:ext cx="464535" cy="521479"/>
              </a:xfrm>
              <a:prstGeom prst="rect">
                <a:avLst/>
              </a:prstGeom>
              <a:solidFill>
                <a:schemeClr val="accent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R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chemeClr val="tx2"/>
                  </a:buClr>
                  <a:buSzPct val="70000"/>
                  <a:tabLst/>
                </a:pPr>
                <a:r>
                  <a:rPr kumimoji="0" lang="en-US" sz="1200" b="0" i="0" u="none" strike="noStrike" cap="none" normalizeH="0" baseline="0" dirty="0">
                    <a:ln>
                      <a:noFill/>
                    </a:ln>
                    <a:solidFill>
                      <a:schemeClr val="bg1"/>
                    </a:solidFill>
                    <a:effectLst/>
                  </a:rPr>
                  <a:t>+10%</a:t>
                </a:r>
              </a:p>
            </p:txBody>
          </p:sp>
          <p:sp>
            <p:nvSpPr>
              <p:cNvPr id="28" name="Rectangle 27"/>
              <p:cNvSpPr/>
              <p:nvPr/>
            </p:nvSpPr>
            <p:spPr bwMode="auto">
              <a:xfrm>
                <a:off x="6383757" y="4983597"/>
                <a:ext cx="464535" cy="728803"/>
              </a:xfrm>
              <a:prstGeom prst="rect">
                <a:avLst/>
              </a:prstGeom>
              <a:solidFill>
                <a:schemeClr val="accent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eaLnBrk="1" hangingPunct="1">
                  <a:spcBef>
                    <a:spcPct val="50000"/>
                  </a:spcBef>
                  <a:buClr>
                    <a:schemeClr val="tx2"/>
                  </a:buClr>
                  <a:buSzPct val="70000"/>
                </a:pPr>
                <a:r>
                  <a:rPr lang="en-US" sz="1200" dirty="0">
                    <a:solidFill>
                      <a:schemeClr val="bg1"/>
                    </a:solidFill>
                  </a:rPr>
                  <a:t>-15% </a:t>
                </a:r>
              </a:p>
            </p:txBody>
          </p:sp>
          <p:cxnSp>
            <p:nvCxnSpPr>
              <p:cNvPr id="29" name="Connecteur droit 99"/>
              <p:cNvCxnSpPr/>
              <p:nvPr/>
            </p:nvCxnSpPr>
            <p:spPr bwMode="auto">
              <a:xfrm>
                <a:off x="6383757" y="5712400"/>
                <a:ext cx="519042" cy="0"/>
              </a:xfrm>
              <a:prstGeom prst="line">
                <a:avLst/>
              </a:prstGeom>
              <a:solidFill>
                <a:schemeClr val="folHlink"/>
              </a:solidFill>
              <a:ln w="952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0" name="Connecteur droit 100"/>
              <p:cNvCxnSpPr/>
              <p:nvPr/>
            </p:nvCxnSpPr>
            <p:spPr bwMode="auto">
              <a:xfrm>
                <a:off x="6383757" y="4983597"/>
                <a:ext cx="519042" cy="0"/>
              </a:xfrm>
              <a:prstGeom prst="line">
                <a:avLst/>
              </a:prstGeom>
              <a:solidFill>
                <a:schemeClr val="folHlink"/>
              </a:solidFill>
              <a:ln w="952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1" name="Connecteur droit 101"/>
              <p:cNvCxnSpPr/>
              <p:nvPr/>
            </p:nvCxnSpPr>
            <p:spPr bwMode="auto">
              <a:xfrm>
                <a:off x="6383757" y="2445755"/>
                <a:ext cx="519042" cy="0"/>
              </a:xfrm>
              <a:prstGeom prst="line">
                <a:avLst/>
              </a:prstGeom>
              <a:solidFill>
                <a:schemeClr val="folHlink"/>
              </a:solidFill>
              <a:ln w="952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2" name="Connecteur droit 102"/>
              <p:cNvCxnSpPr/>
              <p:nvPr/>
            </p:nvCxnSpPr>
            <p:spPr bwMode="auto">
              <a:xfrm>
                <a:off x="6383757" y="1924276"/>
                <a:ext cx="519042" cy="0"/>
              </a:xfrm>
              <a:prstGeom prst="line">
                <a:avLst/>
              </a:prstGeom>
              <a:solidFill>
                <a:schemeClr val="folHlink"/>
              </a:solidFill>
              <a:ln w="952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33" name="ZoneTexte 103"/>
              <p:cNvSpPr txBox="1"/>
              <p:nvPr/>
            </p:nvSpPr>
            <p:spPr>
              <a:xfrm>
                <a:off x="6860748" y="2276660"/>
                <a:ext cx="583814" cy="4797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200" dirty="0">
                    <a:solidFill>
                      <a:schemeClr val="accent2"/>
                    </a:solidFill>
                  </a:rPr>
                  <a:t>250 V</a:t>
                </a:r>
              </a:p>
            </p:txBody>
          </p:sp>
          <p:sp>
            <p:nvSpPr>
              <p:cNvPr id="34" name="ZoneTexte 104"/>
              <p:cNvSpPr txBox="1"/>
              <p:nvPr/>
            </p:nvSpPr>
            <p:spPr>
              <a:xfrm>
                <a:off x="6860748" y="4818099"/>
                <a:ext cx="580608" cy="4797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200" dirty="0">
                    <a:solidFill>
                      <a:schemeClr val="accent2"/>
                    </a:solidFill>
                  </a:rPr>
                  <a:t>100 V</a:t>
                </a:r>
              </a:p>
            </p:txBody>
          </p:sp>
          <p:sp>
            <p:nvSpPr>
              <p:cNvPr id="35" name="ZoneTexte 105"/>
              <p:cNvSpPr txBox="1"/>
              <p:nvPr/>
            </p:nvSpPr>
            <p:spPr>
              <a:xfrm>
                <a:off x="6860748" y="5546272"/>
                <a:ext cx="497252" cy="4797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200" dirty="0"/>
                  <a:t>85 V</a:t>
                </a:r>
              </a:p>
            </p:txBody>
          </p:sp>
          <p:sp>
            <p:nvSpPr>
              <p:cNvPr id="36" name="ZoneTexte 106"/>
              <p:cNvSpPr txBox="1"/>
              <p:nvPr/>
            </p:nvSpPr>
            <p:spPr>
              <a:xfrm>
                <a:off x="6860748" y="1836415"/>
                <a:ext cx="530915" cy="4797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200" dirty="0"/>
                  <a:t>275V</a:t>
                </a:r>
              </a:p>
            </p:txBody>
          </p:sp>
        </p:grpSp>
        <p:grpSp>
          <p:nvGrpSpPr>
            <p:cNvPr id="37" name="Group 36"/>
            <p:cNvGrpSpPr/>
            <p:nvPr/>
          </p:nvGrpSpPr>
          <p:grpSpPr>
            <a:xfrm>
              <a:off x="1097245" y="2602065"/>
              <a:ext cx="1067246" cy="1970918"/>
              <a:chOff x="1477772" y="2385867"/>
              <a:chExt cx="1067246" cy="1970918"/>
            </a:xfrm>
          </p:grpSpPr>
          <p:sp>
            <p:nvSpPr>
              <p:cNvPr id="38" name="Rectangle 37"/>
              <p:cNvSpPr/>
              <p:nvPr/>
            </p:nvSpPr>
            <p:spPr bwMode="auto">
              <a:xfrm>
                <a:off x="1477772" y="2976644"/>
                <a:ext cx="464535" cy="335170"/>
              </a:xfrm>
              <a:prstGeom prst="rect">
                <a:avLst/>
              </a:prstGeom>
              <a:solidFill>
                <a:schemeClr val="accent4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R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chemeClr val="tx2"/>
                  </a:buClr>
                  <a:buSzPct val="70000"/>
                  <a:tabLst/>
                </a:pPr>
                <a:r>
                  <a:rPr kumimoji="0" lang="en-US" sz="1200" b="1" i="0" u="none" strike="noStrike" cap="none" normalizeH="0" baseline="0" dirty="0">
                    <a:ln>
                      <a:noFill/>
                    </a:ln>
                    <a:solidFill>
                      <a:schemeClr val="accent1"/>
                    </a:solidFill>
                    <a:effectLst/>
                  </a:rPr>
                  <a:t>Uc</a:t>
                </a:r>
              </a:p>
            </p:txBody>
          </p:sp>
          <p:sp>
            <p:nvSpPr>
              <p:cNvPr id="39" name="Rectangle 38"/>
              <p:cNvSpPr/>
              <p:nvPr/>
            </p:nvSpPr>
            <p:spPr bwMode="auto">
              <a:xfrm>
                <a:off x="1477772" y="2457902"/>
                <a:ext cx="464535" cy="521479"/>
              </a:xfrm>
              <a:prstGeom prst="rect">
                <a:avLst/>
              </a:prstGeom>
              <a:solidFill>
                <a:schemeClr val="accent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R="0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chemeClr val="tx2"/>
                  </a:buClr>
                  <a:buSzPct val="70000"/>
                  <a:tabLst/>
                </a:pPr>
                <a:r>
                  <a:rPr kumimoji="0" lang="en-US" sz="1200" b="0" i="0" u="none" strike="noStrike" cap="none" normalizeH="0" baseline="0" dirty="0">
                    <a:ln>
                      <a:noFill/>
                    </a:ln>
                    <a:solidFill>
                      <a:schemeClr val="bg1"/>
                    </a:solidFill>
                    <a:effectLst/>
                  </a:rPr>
                  <a:t>+10%</a:t>
                </a:r>
              </a:p>
            </p:txBody>
          </p:sp>
          <p:sp>
            <p:nvSpPr>
              <p:cNvPr id="40" name="Rectangle 39"/>
              <p:cNvSpPr/>
              <p:nvPr/>
            </p:nvSpPr>
            <p:spPr bwMode="auto">
              <a:xfrm>
                <a:off x="1477772" y="3311815"/>
                <a:ext cx="464535" cy="728803"/>
              </a:xfrm>
              <a:prstGeom prst="rect">
                <a:avLst/>
              </a:prstGeom>
              <a:solidFill>
                <a:schemeClr val="accent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eaLnBrk="1" hangingPunct="1">
                  <a:spcBef>
                    <a:spcPct val="50000"/>
                  </a:spcBef>
                  <a:buClr>
                    <a:schemeClr val="tx2"/>
                  </a:buClr>
                  <a:buSzPct val="70000"/>
                </a:pPr>
                <a:r>
                  <a:rPr lang="en-US" sz="1200" dirty="0">
                    <a:solidFill>
                      <a:schemeClr val="bg1"/>
                    </a:solidFill>
                  </a:rPr>
                  <a:t>-15% </a:t>
                </a:r>
              </a:p>
            </p:txBody>
          </p:sp>
          <p:cxnSp>
            <p:nvCxnSpPr>
              <p:cNvPr id="41" name="Connecteur droit 78"/>
              <p:cNvCxnSpPr/>
              <p:nvPr/>
            </p:nvCxnSpPr>
            <p:spPr bwMode="auto">
              <a:xfrm>
                <a:off x="1477772" y="4040618"/>
                <a:ext cx="519042" cy="0"/>
              </a:xfrm>
              <a:prstGeom prst="line">
                <a:avLst/>
              </a:prstGeom>
              <a:solidFill>
                <a:schemeClr val="folHlink"/>
              </a:solidFill>
              <a:ln w="952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42" name="Connecteur droit 79"/>
              <p:cNvCxnSpPr/>
              <p:nvPr/>
            </p:nvCxnSpPr>
            <p:spPr bwMode="auto">
              <a:xfrm>
                <a:off x="1477772" y="3311815"/>
                <a:ext cx="519042" cy="0"/>
              </a:xfrm>
              <a:prstGeom prst="line">
                <a:avLst/>
              </a:prstGeom>
              <a:solidFill>
                <a:schemeClr val="folHlink"/>
              </a:solidFill>
              <a:ln w="952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43" name="Connecteur droit 80"/>
              <p:cNvCxnSpPr/>
              <p:nvPr/>
            </p:nvCxnSpPr>
            <p:spPr bwMode="auto">
              <a:xfrm>
                <a:off x="1477772" y="2979381"/>
                <a:ext cx="519042" cy="0"/>
              </a:xfrm>
              <a:prstGeom prst="line">
                <a:avLst/>
              </a:prstGeom>
              <a:solidFill>
                <a:schemeClr val="folHlink"/>
              </a:solidFill>
              <a:ln w="952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44" name="Connecteur droit 81"/>
              <p:cNvCxnSpPr/>
              <p:nvPr/>
            </p:nvCxnSpPr>
            <p:spPr bwMode="auto">
              <a:xfrm>
                <a:off x="1477772" y="2457902"/>
                <a:ext cx="519042" cy="0"/>
              </a:xfrm>
              <a:prstGeom prst="line">
                <a:avLst/>
              </a:prstGeom>
              <a:solidFill>
                <a:schemeClr val="folHlink"/>
              </a:solidFill>
              <a:ln w="952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45" name="ZoneTexte 107"/>
              <p:cNvSpPr txBox="1"/>
              <p:nvPr/>
            </p:nvSpPr>
            <p:spPr>
              <a:xfrm>
                <a:off x="1966013" y="2385867"/>
                <a:ext cx="534121" cy="4797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200" dirty="0"/>
                  <a:t>253V</a:t>
                </a:r>
              </a:p>
            </p:txBody>
          </p:sp>
          <p:sp>
            <p:nvSpPr>
              <p:cNvPr id="46" name="ZoneTexte 108"/>
              <p:cNvSpPr txBox="1"/>
              <p:nvPr/>
            </p:nvSpPr>
            <p:spPr>
              <a:xfrm>
                <a:off x="1966013" y="2880444"/>
                <a:ext cx="579005" cy="4797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200" dirty="0">
                    <a:solidFill>
                      <a:schemeClr val="accent2"/>
                    </a:solidFill>
                  </a:rPr>
                  <a:t>230 V</a:t>
                </a:r>
              </a:p>
            </p:txBody>
          </p:sp>
          <p:sp>
            <p:nvSpPr>
              <p:cNvPr id="47" name="ZoneTexte 109"/>
              <p:cNvSpPr txBox="1"/>
              <p:nvPr/>
            </p:nvSpPr>
            <p:spPr>
              <a:xfrm>
                <a:off x="1966013" y="3877054"/>
                <a:ext cx="559769" cy="4797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200" dirty="0"/>
                  <a:t>187 V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97978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70479A72-920A-415B-8469-E7772A79C549}" type="datetime4">
              <a:rPr lang="en-US" smtClean="0"/>
              <a:t>December 14, 2020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9796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pPr>
              <a:spcBef>
                <a:spcPts val="1200"/>
              </a:spcBef>
            </a:pPr>
            <a:r>
              <a:rPr lang="en-US" sz="1600" dirty="0"/>
              <a:t>Introduction</a:t>
            </a:r>
          </a:p>
          <a:p>
            <a:pPr>
              <a:spcBef>
                <a:spcPts val="1200"/>
              </a:spcBef>
            </a:pPr>
            <a:r>
              <a:rPr lang="sv-SE" sz="1600" dirty="0"/>
              <a:t>Speed-up your projects</a:t>
            </a:r>
          </a:p>
          <a:p>
            <a:pPr>
              <a:spcBef>
                <a:spcPts val="1200"/>
              </a:spcBef>
            </a:pPr>
            <a:r>
              <a:rPr lang="sv-SE" sz="1600" dirty="0"/>
              <a:t>Optimized logistics</a:t>
            </a:r>
          </a:p>
          <a:p>
            <a:pPr>
              <a:spcBef>
                <a:spcPts val="1200"/>
              </a:spcBef>
            </a:pPr>
            <a:r>
              <a:rPr lang="sv-SE" sz="1600" dirty="0"/>
              <a:t>Continuous operation</a:t>
            </a:r>
          </a:p>
        </p:txBody>
      </p:sp>
      <p:sp>
        <p:nvSpPr>
          <p:cNvPr id="4" name="Subtitle 3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US" dirty="0"/>
              <a:t>Content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altLang="fr-FR" dirty="0"/>
              <a:t>AF NEMA </a:t>
            </a:r>
            <a:r>
              <a:rPr lang="sv-SE" altLang="fr-FR" dirty="0" err="1"/>
              <a:t>contactors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645D6C75-6677-474C-AFA0-E1E643C89E59}" type="datetime4">
              <a:rPr lang="en-US" smtClean="0"/>
              <a:t>December 14, 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lvl="8"/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9912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Introduc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9019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/>
          <p:cNvPicPr>
            <a:picLocks noGrp="1" noChangeAspect="1" noChangeArrowheads="1"/>
          </p:cNvPicPr>
          <p:nvPr>
            <p:ph sz="quarter" idx="21"/>
          </p:nvPr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95423" y="1713091"/>
            <a:ext cx="7472824" cy="28782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Date Placehold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D75FA0D-95AB-40AA-83B2-40E74C6CDD20}" type="datetime4">
              <a:rPr lang="en-US" smtClean="0"/>
              <a:t>December 14, 2020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lvl="8"/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US" dirty="0"/>
              <a:t>The latest technology is our standard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9"/>
          </p:nvPr>
        </p:nvSpPr>
        <p:spPr>
          <a:xfrm>
            <a:off x="246934" y="5453067"/>
            <a:ext cx="8643600" cy="460375"/>
          </a:xfrm>
        </p:spPr>
        <p:txBody>
          <a:bodyPr anchor="ctr" anchorCtr="0"/>
          <a:lstStyle/>
          <a:p>
            <a:r>
              <a:rPr lang="en-US" sz="1400" dirty="0"/>
              <a:t>Secure uptime and optimize stock with the latest AF </a:t>
            </a:r>
            <a:br>
              <a:rPr lang="en-US" sz="1400" dirty="0"/>
            </a:br>
            <a:r>
              <a:rPr lang="en-US" sz="1400" dirty="0"/>
              <a:t>technology for motor starting and power switching up to 1650 A 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F NEMA contactor range</a:t>
            </a:r>
          </a:p>
        </p:txBody>
      </p:sp>
    </p:spTree>
    <p:extLst>
      <p:ext uri="{BB962C8B-B14F-4D97-AF65-F5344CB8AC3E}">
        <p14:creationId xmlns:p14="http://schemas.microsoft.com/office/powerpoint/2010/main" val="120703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32E95DC5-C974-42AD-BED3-1FBE2244D92E}" type="datetime4">
              <a:rPr lang="en-US" smtClean="0"/>
              <a:t>December 14, 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lvl="8"/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6" name="Subtitle 5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US" dirty="0">
                <a:solidFill>
                  <a:schemeClr val="accent1"/>
                </a:solidFill>
              </a:rPr>
              <a:t>AF09N00 … AF1650N8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3-Pole range overview</a:t>
            </a:r>
          </a:p>
        </p:txBody>
      </p:sp>
      <p:pic>
        <p:nvPicPr>
          <p:cNvPr id="8" name="Image 15"/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2338441" y="2785992"/>
            <a:ext cx="304168" cy="423566"/>
          </a:xfrm>
          <a:prstGeom prst="rect">
            <a:avLst/>
          </a:prstGeom>
        </p:spPr>
      </p:pic>
      <p:pic>
        <p:nvPicPr>
          <p:cNvPr id="9" name="Image 16"/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3225003" y="2740140"/>
            <a:ext cx="380787" cy="469418"/>
          </a:xfrm>
          <a:prstGeom prst="rect">
            <a:avLst/>
          </a:prstGeom>
        </p:spPr>
      </p:pic>
      <p:pic>
        <p:nvPicPr>
          <p:cNvPr id="10" name="Image 17"/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3989038" y="2592023"/>
            <a:ext cx="381521" cy="617535"/>
          </a:xfrm>
          <a:prstGeom prst="rect">
            <a:avLst/>
          </a:prstGeom>
        </p:spPr>
      </p:pic>
      <p:pic>
        <p:nvPicPr>
          <p:cNvPr id="11" name="Image 18"/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4618586" y="2577317"/>
            <a:ext cx="463257" cy="632241"/>
          </a:xfrm>
          <a:prstGeom prst="rect">
            <a:avLst/>
          </a:prstGeom>
        </p:spPr>
      </p:pic>
      <p:pic>
        <p:nvPicPr>
          <p:cNvPr id="12" name="Image 19"/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5329268" y="2477565"/>
            <a:ext cx="574407" cy="731993"/>
          </a:xfrm>
          <a:prstGeom prst="rect">
            <a:avLst/>
          </a:prstGeom>
        </p:spPr>
      </p:pic>
      <p:graphicFrame>
        <p:nvGraphicFramePr>
          <p:cNvPr id="13" name="Tableau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19101573"/>
              </p:ext>
            </p:extLst>
          </p:nvPr>
        </p:nvGraphicFramePr>
        <p:xfrm>
          <a:off x="246940" y="3369281"/>
          <a:ext cx="8740405" cy="1450848"/>
        </p:xfrm>
        <a:graphic>
          <a:graphicData uri="http://schemas.openxmlformats.org/drawingml/2006/table">
            <a:tbl>
              <a:tblPr>
                <a:tableStyleId>{773F8A54-F971-430D-9108-034FE38666EA}</a:tableStyleId>
              </a:tblPr>
              <a:tblGrid>
                <a:gridCol w="15393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10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2010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2010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20105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720105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720105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720105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720105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720105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720105">
                  <a:extLst>
                    <a:ext uri="{9D8B030D-6E8A-4147-A177-3AD203B41FA5}">
                      <a16:colId xmlns:a16="http://schemas.microsoft.com/office/drawing/2014/main" val="1626802311"/>
                    </a:ext>
                  </a:extLst>
                </a:gridCol>
              </a:tblGrid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noProof="0" dirty="0">
                          <a:effectLst/>
                        </a:rPr>
                        <a:t>Contactors</a:t>
                      </a:r>
                      <a:endParaRPr lang="en-US" sz="900" b="1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27432" marR="27432" marT="27432" marB="27432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noProof="0" dirty="0">
                          <a:effectLst/>
                        </a:rPr>
                        <a:t>AF09N00</a:t>
                      </a:r>
                      <a:endParaRPr lang="en-US" sz="1000" b="1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27432" marR="27432" marT="27432" marB="27432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noProof="0" dirty="0">
                          <a:effectLst/>
                        </a:rPr>
                        <a:t>AF12N0</a:t>
                      </a:r>
                      <a:endParaRPr lang="en-US" sz="1000" b="1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27432" marR="27432" marT="27432" marB="27432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noProof="0" dirty="0">
                          <a:effectLst/>
                        </a:rPr>
                        <a:t>AF26N1</a:t>
                      </a:r>
                      <a:endParaRPr lang="en-US" sz="1000" b="1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27432" marR="27432" marT="27432" marB="27432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noProof="0" dirty="0">
                          <a:effectLst/>
                        </a:rPr>
                        <a:t>AF40N2</a:t>
                      </a:r>
                      <a:endParaRPr lang="en-US" sz="1000" b="1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27432" marR="27432" marT="27432" marB="27432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noProof="0" dirty="0">
                          <a:effectLst/>
                        </a:rPr>
                        <a:t>AF80N3</a:t>
                      </a:r>
                      <a:endParaRPr lang="en-US" sz="1000" b="1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27432" marR="27432" marT="27432" marB="27432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noProof="0" dirty="0">
                          <a:effectLst/>
                        </a:rPr>
                        <a:t>AF140N4</a:t>
                      </a:r>
                      <a:endParaRPr lang="en-US" sz="1000" b="1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27432" marR="27432" marT="27432" marB="27432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noProof="0" dirty="0">
                          <a:effectLst/>
                        </a:rPr>
                        <a:t>AF265N5</a:t>
                      </a:r>
                      <a:endParaRPr lang="en-US" sz="1000" b="1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27432" marR="27432" marT="27432" marB="27432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noProof="0" dirty="0">
                          <a:effectLst/>
                        </a:rPr>
                        <a:t>AF460N6</a:t>
                      </a:r>
                      <a:endParaRPr lang="en-US" sz="1000" b="1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27432" marR="27432" marT="27432" marB="27432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noProof="0" dirty="0">
                          <a:effectLst/>
                        </a:rPr>
                        <a:t>AF750N7</a:t>
                      </a:r>
                      <a:endParaRPr lang="en-US" sz="1000" b="1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27432" marR="27432" marT="27432" marB="27432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noProof="0" dirty="0">
                          <a:effectLst/>
                        </a:rPr>
                        <a:t>AF1650N8</a:t>
                      </a:r>
                      <a:endParaRPr lang="en-US" sz="1000" b="1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27432" marR="27432" marT="27432" marB="27432" anchor="b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noProof="0" dirty="0">
                          <a:effectLst/>
                        </a:rPr>
                        <a:t>NEMA Size</a:t>
                      </a:r>
                      <a:endParaRPr lang="en-US" sz="900" b="1" i="0" u="none" strike="noStrike" noProof="0" dirty="0">
                        <a:solidFill>
                          <a:schemeClr val="accent1"/>
                        </a:solidFill>
                        <a:effectLst/>
                        <a:latin typeface="+mn-lt"/>
                      </a:endParaRPr>
                    </a:p>
                  </a:txBody>
                  <a:tcPr marL="27432" marR="27432" marT="27432" marB="27432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noProof="0" dirty="0">
                          <a:effectLst/>
                        </a:rPr>
                        <a:t>00</a:t>
                      </a:r>
                      <a:endParaRPr lang="en-US" sz="10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432" marR="27432" marT="27432" marB="27432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noProof="0" dirty="0">
                          <a:effectLst/>
                        </a:rPr>
                        <a:t>0</a:t>
                      </a:r>
                      <a:endParaRPr lang="en-US" sz="10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432" marR="27432" marT="27432" marB="27432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noProof="0" dirty="0">
                          <a:effectLst/>
                        </a:rPr>
                        <a:t>1</a:t>
                      </a:r>
                      <a:endParaRPr lang="en-US" sz="10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432" marR="27432" marT="27432" marB="27432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noProof="0" dirty="0">
                          <a:effectLst/>
                        </a:rPr>
                        <a:t>2</a:t>
                      </a:r>
                      <a:endParaRPr lang="en-US" sz="10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432" marR="27432" marT="27432" marB="27432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noProof="0" dirty="0">
                          <a:effectLst/>
                        </a:rPr>
                        <a:t>3</a:t>
                      </a:r>
                      <a:endParaRPr lang="en-US" sz="10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432" marR="27432" marT="27432" marB="27432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noProof="0" dirty="0">
                          <a:effectLst/>
                        </a:rPr>
                        <a:t>4</a:t>
                      </a:r>
                      <a:endParaRPr lang="en-US" sz="10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432" marR="27432" marT="27432" marB="27432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noProof="0" dirty="0">
                          <a:effectLst/>
                        </a:rPr>
                        <a:t>5</a:t>
                      </a:r>
                      <a:endParaRPr lang="en-US" sz="10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432" marR="27432" marT="27432" marB="27432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noProof="0" dirty="0">
                          <a:effectLst/>
                        </a:rPr>
                        <a:t>6</a:t>
                      </a:r>
                      <a:endParaRPr lang="en-US" sz="10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432" marR="27432" marT="27432" marB="27432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noProof="0" dirty="0">
                          <a:effectLst/>
                        </a:rPr>
                        <a:t>7</a:t>
                      </a:r>
                      <a:endParaRPr lang="en-US" sz="10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432" marR="27432" marT="27432" marB="27432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noProof="0" dirty="0">
                          <a:effectLst/>
                        </a:rPr>
                        <a:t>8</a:t>
                      </a:r>
                      <a:endParaRPr lang="en-US" sz="10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432" marR="27432" marT="27432" marB="27432" anchor="b"/>
                </a:tc>
                <a:extLst>
                  <a:ext uri="{0D108BD9-81ED-4DB2-BD59-A6C34878D82A}">
                    <a16:rowId xmlns:a16="http://schemas.microsoft.com/office/drawing/2014/main" val="192640400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91449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u="none" strike="noStrike" noProof="0" dirty="0">
                          <a:effectLst/>
                        </a:rPr>
                        <a:t>Rating (hp)  200 V</a:t>
                      </a:r>
                      <a:endParaRPr lang="en-US" sz="900" b="1" i="0" u="none" strike="noStrike" noProof="0" dirty="0">
                        <a:solidFill>
                          <a:schemeClr val="accent1"/>
                        </a:solidFill>
                        <a:effectLst/>
                        <a:latin typeface="+mn-lt"/>
                      </a:endParaRPr>
                    </a:p>
                  </a:txBody>
                  <a:tcPr marL="27432" marR="27432" marT="27432" marB="27432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noProof="0" dirty="0">
                          <a:effectLst/>
                        </a:rPr>
                        <a:t>0,5</a:t>
                      </a:r>
                      <a:endParaRPr lang="en-US" sz="10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432" marR="27432" marT="27432" marB="27432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noProof="0" dirty="0">
                          <a:effectLst/>
                        </a:rPr>
                        <a:t>3</a:t>
                      </a:r>
                      <a:endParaRPr lang="en-US" sz="10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432" marR="27432" marT="27432" marB="27432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noProof="0" dirty="0">
                          <a:effectLst/>
                        </a:rPr>
                        <a:t>7,5</a:t>
                      </a:r>
                      <a:endParaRPr lang="en-US" sz="10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432" marR="27432" marT="27432" marB="27432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noProof="0" dirty="0">
                          <a:effectLst/>
                        </a:rPr>
                        <a:t>10</a:t>
                      </a:r>
                      <a:endParaRPr lang="en-US" sz="10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432" marR="27432" marT="27432" marB="27432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noProof="0" dirty="0">
                          <a:effectLst/>
                        </a:rPr>
                        <a:t>25</a:t>
                      </a:r>
                      <a:endParaRPr lang="en-US" sz="10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432" marR="27432" marT="27432" marB="27432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noProof="0" dirty="0">
                          <a:effectLst/>
                        </a:rPr>
                        <a:t>40</a:t>
                      </a:r>
                      <a:endParaRPr lang="en-US" sz="10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432" marR="27432" marT="27432" marB="27432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noProof="0" dirty="0">
                          <a:effectLst/>
                        </a:rPr>
                        <a:t>75</a:t>
                      </a:r>
                      <a:endParaRPr lang="en-US" sz="10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432" marR="27432" marT="27432" marB="27432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noProof="0" dirty="0">
                          <a:effectLst/>
                        </a:rPr>
                        <a:t>150</a:t>
                      </a:r>
                      <a:endParaRPr lang="en-US" sz="10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432" marR="27432" marT="27432" marB="27432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noProof="0" dirty="0">
                          <a:effectLst/>
                        </a:rPr>
                        <a:t>-</a:t>
                      </a:r>
                      <a:endParaRPr lang="en-US" sz="10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432" marR="27432" marT="27432" marB="27432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noProof="0" dirty="0">
                          <a:effectLst/>
                        </a:rPr>
                        <a:t>-</a:t>
                      </a:r>
                      <a:endParaRPr lang="en-US" sz="10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432" marR="27432" marT="27432" marB="27432" anchor="b"/>
                </a:tc>
                <a:extLst>
                  <a:ext uri="{0D108BD9-81ED-4DB2-BD59-A6C34878D82A}">
                    <a16:rowId xmlns:a16="http://schemas.microsoft.com/office/drawing/2014/main" val="55718634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91449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u="none" strike="noStrike" noProof="0" dirty="0">
                          <a:effectLst/>
                        </a:rPr>
                        <a:t>Rating (hp)  230 V</a:t>
                      </a:r>
                      <a:endParaRPr lang="en-US" sz="900" b="1" i="0" u="none" strike="noStrike" noProof="0" dirty="0">
                        <a:solidFill>
                          <a:schemeClr val="accent1"/>
                        </a:solidFill>
                        <a:effectLst/>
                        <a:latin typeface="+mn-lt"/>
                      </a:endParaRPr>
                    </a:p>
                  </a:txBody>
                  <a:tcPr marL="27432" marR="27432" marT="27432" marB="27432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noProof="0" dirty="0">
                          <a:effectLst/>
                        </a:rPr>
                        <a:t>0,5</a:t>
                      </a:r>
                      <a:endParaRPr lang="en-US" sz="10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432" marR="27432" marT="27432" marB="27432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noProof="0" dirty="0">
                          <a:effectLst/>
                        </a:rPr>
                        <a:t>3</a:t>
                      </a:r>
                      <a:endParaRPr lang="en-US" sz="10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432" marR="27432" marT="27432" marB="27432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noProof="0" dirty="0">
                          <a:effectLst/>
                        </a:rPr>
                        <a:t>7,5</a:t>
                      </a:r>
                      <a:endParaRPr lang="en-US" sz="10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432" marR="27432" marT="27432" marB="27432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noProof="0" dirty="0">
                          <a:effectLst/>
                        </a:rPr>
                        <a:t>10</a:t>
                      </a:r>
                      <a:endParaRPr lang="en-US" sz="10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432" marR="27432" marT="27432" marB="27432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</a:t>
                      </a:r>
                    </a:p>
                  </a:txBody>
                  <a:tcPr marL="27432" marR="27432" marT="27432" marB="27432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noProof="0" dirty="0">
                          <a:effectLst/>
                        </a:rPr>
                        <a:t>50</a:t>
                      </a:r>
                      <a:endParaRPr lang="en-US" sz="10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432" marR="27432" marT="27432" marB="27432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noProof="0" dirty="0">
                          <a:effectLst/>
                        </a:rPr>
                        <a:t>100</a:t>
                      </a:r>
                      <a:endParaRPr lang="en-US" sz="10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432" marR="27432" marT="27432" marB="27432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noProof="0" dirty="0">
                          <a:effectLst/>
                        </a:rPr>
                        <a:t>200</a:t>
                      </a:r>
                      <a:endParaRPr lang="en-US" sz="10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432" marR="27432" marT="27432" marB="27432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noProof="0" dirty="0">
                          <a:effectLst/>
                        </a:rPr>
                        <a:t>300</a:t>
                      </a:r>
                      <a:endParaRPr lang="en-US" sz="10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432" marR="27432" marT="27432" marB="27432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noProof="0" dirty="0">
                          <a:effectLst/>
                        </a:rPr>
                        <a:t>450</a:t>
                      </a:r>
                      <a:endParaRPr lang="en-US" sz="10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432" marR="27432" marT="27432" marB="27432" anchor="b"/>
                </a:tc>
                <a:extLst>
                  <a:ext uri="{0D108BD9-81ED-4DB2-BD59-A6C34878D82A}">
                    <a16:rowId xmlns:a16="http://schemas.microsoft.com/office/drawing/2014/main" val="4103900370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noProof="0" dirty="0">
                          <a:effectLst/>
                        </a:rPr>
                        <a:t>Rating (hp)  460 V</a:t>
                      </a:r>
                      <a:endParaRPr lang="en-US" sz="900" b="1" i="0" u="none" strike="noStrike" noProof="0" dirty="0">
                        <a:solidFill>
                          <a:schemeClr val="accent1"/>
                        </a:solidFill>
                        <a:effectLst/>
                        <a:latin typeface="+mn-lt"/>
                      </a:endParaRPr>
                    </a:p>
                  </a:txBody>
                  <a:tcPr marL="27432" marR="27432" marT="27432" marB="27432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noProof="0" dirty="0">
                          <a:effectLst/>
                        </a:rPr>
                        <a:t>2</a:t>
                      </a:r>
                      <a:endParaRPr lang="en-US" sz="10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432" marR="27432" marT="27432" marB="27432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noProof="0" dirty="0">
                          <a:effectLst/>
                        </a:rPr>
                        <a:t>5</a:t>
                      </a:r>
                      <a:endParaRPr lang="en-US" sz="10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432" marR="27432" marT="27432" marB="27432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noProof="0" dirty="0">
                          <a:effectLst/>
                        </a:rPr>
                        <a:t>10</a:t>
                      </a:r>
                      <a:endParaRPr lang="en-US" sz="10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432" marR="27432" marT="27432" marB="27432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noProof="0" dirty="0">
                          <a:effectLst/>
                        </a:rPr>
                        <a:t>25</a:t>
                      </a:r>
                      <a:endParaRPr lang="en-US" sz="10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432" marR="27432" marT="27432" marB="27432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noProof="0" dirty="0">
                          <a:effectLst/>
                        </a:rPr>
                        <a:t>50</a:t>
                      </a:r>
                      <a:endParaRPr lang="en-US" sz="10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432" marR="27432" marT="27432" marB="27432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noProof="0" dirty="0">
                          <a:effectLst/>
                        </a:rPr>
                        <a:t>100</a:t>
                      </a:r>
                      <a:endParaRPr lang="en-US" sz="10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432" marR="27432" marT="27432" marB="27432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noProof="0" dirty="0">
                          <a:effectLst/>
                        </a:rPr>
                        <a:t>200</a:t>
                      </a:r>
                      <a:endParaRPr lang="en-US" sz="10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432" marR="27432" marT="27432" marB="27432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noProof="0" dirty="0">
                          <a:effectLst/>
                        </a:rPr>
                        <a:t>400</a:t>
                      </a:r>
                      <a:endParaRPr lang="en-US" sz="10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432" marR="27432" marT="27432" marB="27432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noProof="0" dirty="0">
                          <a:effectLst/>
                        </a:rPr>
                        <a:t>600</a:t>
                      </a:r>
                      <a:endParaRPr lang="en-US" sz="10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432" marR="27432" marT="27432" marB="27432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noProof="0" dirty="0">
                          <a:effectLst/>
                        </a:rPr>
                        <a:t>900</a:t>
                      </a:r>
                      <a:endParaRPr lang="en-US" sz="10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432" marR="27432" marT="27432" marB="27432"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91449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u="none" strike="noStrike" noProof="0" dirty="0">
                          <a:effectLst/>
                        </a:rPr>
                        <a:t>Rating (hp)  575 V</a:t>
                      </a:r>
                      <a:endParaRPr lang="en-US" sz="900" b="1" i="0" u="none" strike="noStrike" noProof="0" dirty="0">
                        <a:solidFill>
                          <a:schemeClr val="accent1"/>
                        </a:solidFill>
                        <a:effectLst/>
                        <a:latin typeface="+mn-lt"/>
                      </a:endParaRPr>
                    </a:p>
                  </a:txBody>
                  <a:tcPr marL="27432" marR="27432" marT="27432" marB="27432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noProof="0" dirty="0">
                          <a:effectLst/>
                        </a:rPr>
                        <a:t>2</a:t>
                      </a:r>
                      <a:endParaRPr lang="en-US" sz="10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432" marR="27432" marT="27432" marB="27432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noProof="0" dirty="0">
                          <a:effectLst/>
                        </a:rPr>
                        <a:t>5</a:t>
                      </a:r>
                      <a:endParaRPr lang="en-US" sz="10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432" marR="27432" marT="27432" marB="27432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noProof="0" dirty="0">
                          <a:effectLst/>
                        </a:rPr>
                        <a:t>10</a:t>
                      </a:r>
                      <a:endParaRPr lang="en-US" sz="10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432" marR="27432" marT="27432" marB="27432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noProof="0" dirty="0">
                          <a:effectLst/>
                        </a:rPr>
                        <a:t>25</a:t>
                      </a:r>
                      <a:endParaRPr lang="en-US" sz="10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432" marR="27432" marT="27432" marB="27432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noProof="0" dirty="0">
                          <a:effectLst/>
                        </a:rPr>
                        <a:t>50</a:t>
                      </a:r>
                      <a:endParaRPr lang="en-US" sz="10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432" marR="27432" marT="27432" marB="27432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noProof="0" dirty="0">
                          <a:effectLst/>
                        </a:rPr>
                        <a:t>100</a:t>
                      </a:r>
                      <a:endParaRPr lang="en-US" sz="10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432" marR="27432" marT="27432" marB="27432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noProof="0" dirty="0">
                          <a:effectLst/>
                        </a:rPr>
                        <a:t>200</a:t>
                      </a:r>
                      <a:endParaRPr lang="en-US" sz="10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432" marR="27432" marT="27432" marB="27432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noProof="0" dirty="0">
                          <a:effectLst/>
                        </a:rPr>
                        <a:t>400</a:t>
                      </a:r>
                      <a:endParaRPr lang="en-US" sz="10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432" marR="27432" marT="27432" marB="27432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noProof="0" dirty="0">
                          <a:effectLst/>
                        </a:rPr>
                        <a:t>600</a:t>
                      </a:r>
                      <a:endParaRPr lang="en-US" sz="10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432" marR="27432" marT="27432" marB="27432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noProof="0" dirty="0">
                          <a:effectLst/>
                        </a:rPr>
                        <a:t>900</a:t>
                      </a:r>
                      <a:endParaRPr lang="en-US" sz="10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432" marR="27432" marT="27432" marB="27432" anchor="b"/>
                </a:tc>
                <a:extLst>
                  <a:ext uri="{0D108BD9-81ED-4DB2-BD59-A6C34878D82A}">
                    <a16:rowId xmlns:a16="http://schemas.microsoft.com/office/drawing/2014/main" val="2185567226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noProof="0" dirty="0">
                          <a:solidFill>
                            <a:schemeClr val="accent1"/>
                          </a:solidFill>
                          <a:effectLst/>
                          <a:latin typeface="+mn-lt"/>
                        </a:rPr>
                        <a:t>Continuous amp rating (A)</a:t>
                      </a:r>
                    </a:p>
                  </a:txBody>
                  <a:tcPr marL="27432" marR="27432" marT="27432" marB="27432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noProof="0" dirty="0">
                          <a:effectLst/>
                        </a:rPr>
                        <a:t>9</a:t>
                      </a:r>
                      <a:endParaRPr lang="en-US" sz="10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432" marR="27432" marT="27432" marB="27432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noProof="0" dirty="0">
                          <a:effectLst/>
                        </a:rPr>
                        <a:t>18</a:t>
                      </a:r>
                      <a:endParaRPr lang="en-US" sz="10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432" marR="27432" marT="27432" marB="27432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noProof="0" dirty="0">
                          <a:effectLst/>
                        </a:rPr>
                        <a:t>27</a:t>
                      </a:r>
                      <a:endParaRPr lang="en-US" sz="10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432" marR="27432" marT="27432" marB="27432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5</a:t>
                      </a:r>
                    </a:p>
                  </a:txBody>
                  <a:tcPr marL="27432" marR="27432" marT="27432" marB="27432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noProof="0" dirty="0">
                          <a:effectLst/>
                        </a:rPr>
                        <a:t>90</a:t>
                      </a:r>
                      <a:endParaRPr lang="en-US" sz="10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432" marR="27432" marT="27432" marB="27432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noProof="0" dirty="0">
                          <a:effectLst/>
                        </a:rPr>
                        <a:t>135</a:t>
                      </a:r>
                      <a:endParaRPr lang="en-US" sz="10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432" marR="27432" marT="27432" marB="27432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noProof="0" dirty="0">
                          <a:effectLst/>
                        </a:rPr>
                        <a:t>270</a:t>
                      </a:r>
                      <a:endParaRPr lang="en-US" sz="10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432" marR="27432" marT="27432" marB="27432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noProof="0" dirty="0">
                          <a:effectLst/>
                        </a:rPr>
                        <a:t>-</a:t>
                      </a:r>
                      <a:endParaRPr lang="en-US" sz="10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432" marR="27432" marT="27432" marB="27432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noProof="0" dirty="0">
                          <a:effectLst/>
                        </a:rPr>
                        <a:t>-</a:t>
                      </a:r>
                      <a:endParaRPr lang="en-US" sz="10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432" marR="27432" marT="27432" marB="27432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noProof="0" dirty="0">
                          <a:effectLst/>
                        </a:rPr>
                        <a:t>-</a:t>
                      </a:r>
                      <a:endParaRPr lang="en-US" sz="10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7432" marR="27432" marT="27432" marB="27432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pic>
        <p:nvPicPr>
          <p:cNvPr id="17" name="Image 23"/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6245462" y="2433242"/>
            <a:ext cx="595280" cy="776316"/>
          </a:xfrm>
          <a:prstGeom prst="rect">
            <a:avLst/>
          </a:prstGeom>
        </p:spPr>
      </p:pic>
      <p:pic>
        <p:nvPicPr>
          <p:cNvPr id="18" name="Image 24"/>
          <p:cNvPicPr>
            <a:picLocks noChangeAspect="1"/>
          </p:cNvPicPr>
          <p:nvPr/>
        </p:nvPicPr>
        <p:blipFill>
          <a:blip r:embed="rId9"/>
          <a:srcRect/>
          <a:stretch/>
        </p:blipFill>
        <p:spPr>
          <a:xfrm>
            <a:off x="7174788" y="2361886"/>
            <a:ext cx="675962" cy="847672"/>
          </a:xfrm>
          <a:prstGeom prst="rect">
            <a:avLst/>
          </a:prstGeom>
        </p:spPr>
      </p:pic>
      <p:pic>
        <p:nvPicPr>
          <p:cNvPr id="19" name="Image 25"/>
          <p:cNvPicPr>
            <a:picLocks noChangeAspect="1"/>
          </p:cNvPicPr>
          <p:nvPr/>
        </p:nvPicPr>
        <p:blipFill>
          <a:blip r:embed="rId10"/>
          <a:srcRect/>
          <a:stretch/>
        </p:blipFill>
        <p:spPr>
          <a:xfrm>
            <a:off x="8025764" y="2321535"/>
            <a:ext cx="965423" cy="8880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5326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Image 3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45" r="1"/>
          <a:stretch/>
        </p:blipFill>
        <p:spPr>
          <a:xfrm>
            <a:off x="4657723" y="2258525"/>
            <a:ext cx="4023360" cy="3326256"/>
          </a:xfrm>
          <a:prstGeom prst="rect">
            <a:avLst/>
          </a:prstGeom>
        </p:spPr>
      </p:pic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AF basic functionality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lvl="8"/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752BFFDC-C65C-4674-9E16-C609AC2B85E6}" type="datetime4">
              <a:rPr lang="en-US" smtClean="0"/>
              <a:t>December 14, 2020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9"/>
          </p:nvPr>
        </p:nvSpPr>
        <p:spPr>
          <a:xfrm>
            <a:off x="246938" y="1931194"/>
            <a:ext cx="4203305" cy="3980918"/>
          </a:xfrm>
        </p:spPr>
        <p:txBody>
          <a:bodyPr/>
          <a:lstStyle/>
          <a:p>
            <a:pPr marL="228600" lvl="1" indent="-228600">
              <a:spcBef>
                <a:spcPts val="1200"/>
              </a:spcBef>
            </a:pPr>
            <a:r>
              <a:rPr lang="en-US" dirty="0"/>
              <a:t>Continuous current and voltage coil control trough the entire operating cycle</a:t>
            </a:r>
          </a:p>
          <a:p>
            <a:pPr marL="457200" lvl="2" indent="-228600">
              <a:spcBef>
                <a:spcPts val="1200"/>
              </a:spcBef>
            </a:pPr>
            <a:r>
              <a:rPr lang="en-US" dirty="0"/>
              <a:t>Distinct closing sequence</a:t>
            </a:r>
          </a:p>
          <a:p>
            <a:pPr marL="457200" lvl="2" indent="-228600">
              <a:spcBef>
                <a:spcPts val="1200"/>
              </a:spcBef>
            </a:pPr>
            <a:r>
              <a:rPr lang="en-US" dirty="0"/>
              <a:t>Low consumption holding sequence</a:t>
            </a:r>
          </a:p>
          <a:p>
            <a:pPr marL="457200" lvl="2" indent="-228600">
              <a:spcBef>
                <a:spcPts val="1200"/>
              </a:spcBef>
            </a:pPr>
            <a:r>
              <a:rPr lang="en-US" dirty="0"/>
              <a:t>Monitored opening sequence</a:t>
            </a:r>
          </a:p>
          <a:p>
            <a:pPr marL="228600" lvl="1" indent="-228600">
              <a:spcBef>
                <a:spcPts val="1200"/>
              </a:spcBef>
            </a:pPr>
            <a:r>
              <a:rPr lang="en-US" dirty="0"/>
              <a:t>Strong making force</a:t>
            </a:r>
          </a:p>
          <a:p>
            <a:pPr marL="228600" lvl="1" indent="-228600">
              <a:spcBef>
                <a:spcPts val="1200"/>
              </a:spcBef>
            </a:pPr>
            <a:r>
              <a:rPr lang="en-US" dirty="0"/>
              <a:t>Low heat dissipation in closed position</a:t>
            </a:r>
          </a:p>
          <a:p>
            <a:pPr marL="228600" lvl="1" indent="-228600">
              <a:spcBef>
                <a:spcPts val="1200"/>
              </a:spcBef>
            </a:pPr>
            <a:r>
              <a:rPr lang="en-US" dirty="0"/>
              <a:t>Humming and buzzing free </a:t>
            </a:r>
          </a:p>
        </p:txBody>
      </p:sp>
      <p:sp>
        <p:nvSpPr>
          <p:cNvPr id="9" name="Subtitle 8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sv-SE" dirty="0">
                <a:solidFill>
                  <a:schemeClr val="accent1"/>
                </a:solidFill>
              </a:rPr>
              <a:t>Optimized DC magnet with electronic control</a:t>
            </a:r>
            <a:endParaRPr lang="en-US" dirty="0"/>
          </a:p>
        </p:txBody>
      </p:sp>
      <p:sp>
        <p:nvSpPr>
          <p:cNvPr id="15" name="ZoneTexte 7"/>
          <p:cNvSpPr txBox="1"/>
          <p:nvPr/>
        </p:nvSpPr>
        <p:spPr>
          <a:xfrm>
            <a:off x="7839883" y="3100407"/>
            <a:ext cx="1097416" cy="276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none" lIns="45720" tIns="45720" rIns="45720" bIns="45720" rtlCol="0" anchor="ctr" anchorCtr="0">
            <a:spAutoFit/>
          </a:bodyPr>
          <a:lstStyle/>
          <a:p>
            <a:pPr>
              <a:buNone/>
            </a:pPr>
            <a:r>
              <a:rPr lang="en-US" sz="1200" dirty="0"/>
              <a:t>Coil terminals</a:t>
            </a:r>
          </a:p>
        </p:txBody>
      </p:sp>
      <p:sp>
        <p:nvSpPr>
          <p:cNvPr id="17" name="ZoneTexte 15"/>
          <p:cNvSpPr txBox="1"/>
          <p:nvPr/>
        </p:nvSpPr>
        <p:spPr>
          <a:xfrm>
            <a:off x="7815838" y="2603869"/>
            <a:ext cx="1187184" cy="276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none" lIns="45720" tIns="45720" rIns="45720" bIns="45720" rtlCol="0" anchor="ctr" anchorCtr="0">
            <a:spAutoFit/>
          </a:bodyPr>
          <a:lstStyle/>
          <a:p>
            <a:pPr>
              <a:buNone/>
            </a:pPr>
            <a:r>
              <a:rPr lang="en-US" sz="1200" dirty="0"/>
              <a:t>Electronic PCB </a:t>
            </a:r>
          </a:p>
        </p:txBody>
      </p:sp>
      <p:sp>
        <p:nvSpPr>
          <p:cNvPr id="19" name="ZoneTexte 26"/>
          <p:cNvSpPr txBox="1"/>
          <p:nvPr/>
        </p:nvSpPr>
        <p:spPr>
          <a:xfrm>
            <a:off x="7815838" y="2107332"/>
            <a:ext cx="1121461" cy="276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none" lIns="45720" tIns="45720" rIns="45720" bIns="45720" rtlCol="0" anchor="ctr" anchorCtr="0">
            <a:spAutoFit/>
          </a:bodyPr>
          <a:lstStyle/>
          <a:p>
            <a:pPr>
              <a:buNone/>
            </a:pPr>
            <a:r>
              <a:rPr lang="en-US" sz="1200" dirty="0"/>
              <a:t>Contactor coil</a:t>
            </a:r>
          </a:p>
        </p:txBody>
      </p:sp>
      <p:grpSp>
        <p:nvGrpSpPr>
          <p:cNvPr id="11" name="Group 10"/>
          <p:cNvGrpSpPr/>
          <p:nvPr/>
        </p:nvGrpSpPr>
        <p:grpSpPr>
          <a:xfrm>
            <a:off x="6176964" y="2255658"/>
            <a:ext cx="1619004" cy="1851223"/>
            <a:chOff x="6176963" y="2255658"/>
            <a:chExt cx="1614487" cy="1851223"/>
          </a:xfrm>
        </p:grpSpPr>
        <p:sp>
          <p:nvSpPr>
            <p:cNvPr id="2" name="Freeform 1"/>
            <p:cNvSpPr/>
            <p:nvPr/>
          </p:nvSpPr>
          <p:spPr bwMode="gray">
            <a:xfrm>
              <a:off x="6871335" y="2736056"/>
              <a:ext cx="920115" cy="1264444"/>
            </a:xfrm>
            <a:custGeom>
              <a:avLst/>
              <a:gdLst>
                <a:gd name="connsiteX0" fmla="*/ 742950 w 742950"/>
                <a:gd name="connsiteY0" fmla="*/ 0 h 800100"/>
                <a:gd name="connsiteX1" fmla="*/ 171450 w 742950"/>
                <a:gd name="connsiteY1" fmla="*/ 0 h 800100"/>
                <a:gd name="connsiteX2" fmla="*/ 0 w 742950"/>
                <a:gd name="connsiteY2" fmla="*/ 123825 h 800100"/>
                <a:gd name="connsiteX3" fmla="*/ 0 w 742950"/>
                <a:gd name="connsiteY3" fmla="*/ 800100 h 800100"/>
                <a:gd name="connsiteX0" fmla="*/ 755650 w 755650"/>
                <a:gd name="connsiteY0" fmla="*/ 0 h 800100"/>
                <a:gd name="connsiteX1" fmla="*/ 184150 w 755650"/>
                <a:gd name="connsiteY1" fmla="*/ 0 h 800100"/>
                <a:gd name="connsiteX2" fmla="*/ 12700 w 755650"/>
                <a:gd name="connsiteY2" fmla="*/ 123825 h 800100"/>
                <a:gd name="connsiteX3" fmla="*/ 12700 w 755650"/>
                <a:gd name="connsiteY3" fmla="*/ 800100 h 800100"/>
                <a:gd name="connsiteX0" fmla="*/ 744362 w 744362"/>
                <a:gd name="connsiteY0" fmla="*/ 0 h 800100"/>
                <a:gd name="connsiteX1" fmla="*/ 172862 w 744362"/>
                <a:gd name="connsiteY1" fmla="*/ 0 h 800100"/>
                <a:gd name="connsiteX2" fmla="*/ 1412 w 744362"/>
                <a:gd name="connsiteY2" fmla="*/ 123825 h 800100"/>
                <a:gd name="connsiteX3" fmla="*/ 1412 w 744362"/>
                <a:gd name="connsiteY3" fmla="*/ 800100 h 800100"/>
                <a:gd name="connsiteX0" fmla="*/ 744362 w 744362"/>
                <a:gd name="connsiteY0" fmla="*/ 0 h 800100"/>
                <a:gd name="connsiteX1" fmla="*/ 172862 w 744362"/>
                <a:gd name="connsiteY1" fmla="*/ 0 h 800100"/>
                <a:gd name="connsiteX2" fmla="*/ 1412 w 744362"/>
                <a:gd name="connsiteY2" fmla="*/ 123825 h 800100"/>
                <a:gd name="connsiteX3" fmla="*/ 1412 w 744362"/>
                <a:gd name="connsiteY3" fmla="*/ 800100 h 800100"/>
                <a:gd name="connsiteX0" fmla="*/ 744362 w 744362"/>
                <a:gd name="connsiteY0" fmla="*/ 0 h 800100"/>
                <a:gd name="connsiteX1" fmla="*/ 172862 w 744362"/>
                <a:gd name="connsiteY1" fmla="*/ 0 h 800100"/>
                <a:gd name="connsiteX2" fmla="*/ 1412 w 744362"/>
                <a:gd name="connsiteY2" fmla="*/ 123825 h 800100"/>
                <a:gd name="connsiteX3" fmla="*/ 1412 w 744362"/>
                <a:gd name="connsiteY3" fmla="*/ 800100 h 800100"/>
                <a:gd name="connsiteX0" fmla="*/ 743303 w 743303"/>
                <a:gd name="connsiteY0" fmla="*/ 0 h 800100"/>
                <a:gd name="connsiteX1" fmla="*/ 171803 w 743303"/>
                <a:gd name="connsiteY1" fmla="*/ 0 h 800100"/>
                <a:gd name="connsiteX2" fmla="*/ 353 w 743303"/>
                <a:gd name="connsiteY2" fmla="*/ 123825 h 800100"/>
                <a:gd name="connsiteX3" fmla="*/ 353 w 743303"/>
                <a:gd name="connsiteY3" fmla="*/ 800100 h 800100"/>
                <a:gd name="connsiteX0" fmla="*/ 743303 w 743303"/>
                <a:gd name="connsiteY0" fmla="*/ 0 h 800100"/>
                <a:gd name="connsiteX1" fmla="*/ 171803 w 743303"/>
                <a:gd name="connsiteY1" fmla="*/ 0 h 800100"/>
                <a:gd name="connsiteX2" fmla="*/ 353 w 743303"/>
                <a:gd name="connsiteY2" fmla="*/ 123825 h 800100"/>
                <a:gd name="connsiteX3" fmla="*/ 353 w 743303"/>
                <a:gd name="connsiteY3" fmla="*/ 800100 h 800100"/>
                <a:gd name="connsiteX0" fmla="*/ 743303 w 743303"/>
                <a:gd name="connsiteY0" fmla="*/ 0 h 800100"/>
                <a:gd name="connsiteX1" fmla="*/ 171803 w 743303"/>
                <a:gd name="connsiteY1" fmla="*/ 0 h 800100"/>
                <a:gd name="connsiteX2" fmla="*/ 353 w 743303"/>
                <a:gd name="connsiteY2" fmla="*/ 123825 h 800100"/>
                <a:gd name="connsiteX3" fmla="*/ 353 w 743303"/>
                <a:gd name="connsiteY3" fmla="*/ 800100 h 800100"/>
                <a:gd name="connsiteX0" fmla="*/ 743303 w 743303"/>
                <a:gd name="connsiteY0" fmla="*/ 0 h 800100"/>
                <a:gd name="connsiteX1" fmla="*/ 171803 w 743303"/>
                <a:gd name="connsiteY1" fmla="*/ 0 h 800100"/>
                <a:gd name="connsiteX2" fmla="*/ 353 w 743303"/>
                <a:gd name="connsiteY2" fmla="*/ 123825 h 800100"/>
                <a:gd name="connsiteX3" fmla="*/ 353 w 743303"/>
                <a:gd name="connsiteY3" fmla="*/ 800100 h 800100"/>
                <a:gd name="connsiteX0" fmla="*/ 743009 w 743009"/>
                <a:gd name="connsiteY0" fmla="*/ 0 h 800100"/>
                <a:gd name="connsiteX1" fmla="*/ 171509 w 743009"/>
                <a:gd name="connsiteY1" fmla="*/ 0 h 800100"/>
                <a:gd name="connsiteX2" fmla="*/ 59 w 743009"/>
                <a:gd name="connsiteY2" fmla="*/ 123825 h 800100"/>
                <a:gd name="connsiteX3" fmla="*/ 59 w 743009"/>
                <a:gd name="connsiteY3" fmla="*/ 800100 h 800100"/>
                <a:gd name="connsiteX0" fmla="*/ 743302 w 743302"/>
                <a:gd name="connsiteY0" fmla="*/ 0 h 800100"/>
                <a:gd name="connsiteX1" fmla="*/ 171802 w 743302"/>
                <a:gd name="connsiteY1" fmla="*/ 0 h 800100"/>
                <a:gd name="connsiteX2" fmla="*/ 352 w 743302"/>
                <a:gd name="connsiteY2" fmla="*/ 123825 h 800100"/>
                <a:gd name="connsiteX3" fmla="*/ 352 w 743302"/>
                <a:gd name="connsiteY3" fmla="*/ 800100 h 800100"/>
                <a:gd name="connsiteX0" fmla="*/ 743302 w 743302"/>
                <a:gd name="connsiteY0" fmla="*/ 0 h 800100"/>
                <a:gd name="connsiteX1" fmla="*/ 171802 w 743302"/>
                <a:gd name="connsiteY1" fmla="*/ 0 h 800100"/>
                <a:gd name="connsiteX2" fmla="*/ 352 w 743302"/>
                <a:gd name="connsiteY2" fmla="*/ 123825 h 800100"/>
                <a:gd name="connsiteX3" fmla="*/ 352 w 743302"/>
                <a:gd name="connsiteY3" fmla="*/ 800100 h 80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3302" h="800100">
                  <a:moveTo>
                    <a:pt x="743302" y="0"/>
                  </a:moveTo>
                  <a:lnTo>
                    <a:pt x="171802" y="0"/>
                  </a:lnTo>
                  <a:cubicBezTo>
                    <a:pt x="-13935" y="1748"/>
                    <a:pt x="1145" y="-7319"/>
                    <a:pt x="352" y="123825"/>
                  </a:cubicBezTo>
                  <a:cubicBezTo>
                    <a:pt x="-441" y="254969"/>
                    <a:pt x="352" y="574675"/>
                    <a:pt x="352" y="800100"/>
                  </a:cubicBezTo>
                </a:path>
              </a:pathLst>
            </a:custGeom>
            <a:noFill/>
            <a:ln w="19050">
              <a:solidFill>
                <a:schemeClr val="bg2"/>
              </a:solidFill>
              <a:tailEnd type="arrow" w="med" len="sm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Freeform 20"/>
            <p:cNvSpPr/>
            <p:nvPr/>
          </p:nvSpPr>
          <p:spPr bwMode="gray">
            <a:xfrm>
              <a:off x="6176963" y="2255658"/>
              <a:ext cx="1614487" cy="1851223"/>
            </a:xfrm>
            <a:custGeom>
              <a:avLst/>
              <a:gdLst>
                <a:gd name="connsiteX0" fmla="*/ 742950 w 742950"/>
                <a:gd name="connsiteY0" fmla="*/ 0 h 800100"/>
                <a:gd name="connsiteX1" fmla="*/ 171450 w 742950"/>
                <a:gd name="connsiteY1" fmla="*/ 0 h 800100"/>
                <a:gd name="connsiteX2" fmla="*/ 0 w 742950"/>
                <a:gd name="connsiteY2" fmla="*/ 123825 h 800100"/>
                <a:gd name="connsiteX3" fmla="*/ 0 w 742950"/>
                <a:gd name="connsiteY3" fmla="*/ 800100 h 800100"/>
                <a:gd name="connsiteX0" fmla="*/ 755650 w 755650"/>
                <a:gd name="connsiteY0" fmla="*/ 0 h 800100"/>
                <a:gd name="connsiteX1" fmla="*/ 184150 w 755650"/>
                <a:gd name="connsiteY1" fmla="*/ 0 h 800100"/>
                <a:gd name="connsiteX2" fmla="*/ 12700 w 755650"/>
                <a:gd name="connsiteY2" fmla="*/ 123825 h 800100"/>
                <a:gd name="connsiteX3" fmla="*/ 12700 w 755650"/>
                <a:gd name="connsiteY3" fmla="*/ 800100 h 800100"/>
                <a:gd name="connsiteX0" fmla="*/ 744362 w 744362"/>
                <a:gd name="connsiteY0" fmla="*/ 0 h 800100"/>
                <a:gd name="connsiteX1" fmla="*/ 172862 w 744362"/>
                <a:gd name="connsiteY1" fmla="*/ 0 h 800100"/>
                <a:gd name="connsiteX2" fmla="*/ 1412 w 744362"/>
                <a:gd name="connsiteY2" fmla="*/ 123825 h 800100"/>
                <a:gd name="connsiteX3" fmla="*/ 1412 w 744362"/>
                <a:gd name="connsiteY3" fmla="*/ 800100 h 800100"/>
                <a:gd name="connsiteX0" fmla="*/ 744362 w 744362"/>
                <a:gd name="connsiteY0" fmla="*/ 0 h 800100"/>
                <a:gd name="connsiteX1" fmla="*/ 172862 w 744362"/>
                <a:gd name="connsiteY1" fmla="*/ 0 h 800100"/>
                <a:gd name="connsiteX2" fmla="*/ 1412 w 744362"/>
                <a:gd name="connsiteY2" fmla="*/ 123825 h 800100"/>
                <a:gd name="connsiteX3" fmla="*/ 1412 w 744362"/>
                <a:gd name="connsiteY3" fmla="*/ 800100 h 800100"/>
                <a:gd name="connsiteX0" fmla="*/ 744362 w 744362"/>
                <a:gd name="connsiteY0" fmla="*/ 0 h 800100"/>
                <a:gd name="connsiteX1" fmla="*/ 172862 w 744362"/>
                <a:gd name="connsiteY1" fmla="*/ 0 h 800100"/>
                <a:gd name="connsiteX2" fmla="*/ 1412 w 744362"/>
                <a:gd name="connsiteY2" fmla="*/ 123825 h 800100"/>
                <a:gd name="connsiteX3" fmla="*/ 1412 w 744362"/>
                <a:gd name="connsiteY3" fmla="*/ 800100 h 800100"/>
                <a:gd name="connsiteX0" fmla="*/ 743303 w 743303"/>
                <a:gd name="connsiteY0" fmla="*/ 0 h 800100"/>
                <a:gd name="connsiteX1" fmla="*/ 171803 w 743303"/>
                <a:gd name="connsiteY1" fmla="*/ 0 h 800100"/>
                <a:gd name="connsiteX2" fmla="*/ 353 w 743303"/>
                <a:gd name="connsiteY2" fmla="*/ 123825 h 800100"/>
                <a:gd name="connsiteX3" fmla="*/ 353 w 743303"/>
                <a:gd name="connsiteY3" fmla="*/ 800100 h 800100"/>
                <a:gd name="connsiteX0" fmla="*/ 743303 w 743303"/>
                <a:gd name="connsiteY0" fmla="*/ 0 h 800100"/>
                <a:gd name="connsiteX1" fmla="*/ 171803 w 743303"/>
                <a:gd name="connsiteY1" fmla="*/ 0 h 800100"/>
                <a:gd name="connsiteX2" fmla="*/ 353 w 743303"/>
                <a:gd name="connsiteY2" fmla="*/ 123825 h 800100"/>
                <a:gd name="connsiteX3" fmla="*/ 353 w 743303"/>
                <a:gd name="connsiteY3" fmla="*/ 800100 h 800100"/>
                <a:gd name="connsiteX0" fmla="*/ 743303 w 743303"/>
                <a:gd name="connsiteY0" fmla="*/ 0 h 800100"/>
                <a:gd name="connsiteX1" fmla="*/ 171803 w 743303"/>
                <a:gd name="connsiteY1" fmla="*/ 0 h 800100"/>
                <a:gd name="connsiteX2" fmla="*/ 353 w 743303"/>
                <a:gd name="connsiteY2" fmla="*/ 123825 h 800100"/>
                <a:gd name="connsiteX3" fmla="*/ 353 w 743303"/>
                <a:gd name="connsiteY3" fmla="*/ 800100 h 800100"/>
                <a:gd name="connsiteX0" fmla="*/ 743303 w 743303"/>
                <a:gd name="connsiteY0" fmla="*/ 0 h 800100"/>
                <a:gd name="connsiteX1" fmla="*/ 171803 w 743303"/>
                <a:gd name="connsiteY1" fmla="*/ 0 h 800100"/>
                <a:gd name="connsiteX2" fmla="*/ 353 w 743303"/>
                <a:gd name="connsiteY2" fmla="*/ 123825 h 800100"/>
                <a:gd name="connsiteX3" fmla="*/ 353 w 743303"/>
                <a:gd name="connsiteY3" fmla="*/ 800100 h 800100"/>
                <a:gd name="connsiteX0" fmla="*/ 743009 w 743009"/>
                <a:gd name="connsiteY0" fmla="*/ 0 h 800100"/>
                <a:gd name="connsiteX1" fmla="*/ 171509 w 743009"/>
                <a:gd name="connsiteY1" fmla="*/ 0 h 800100"/>
                <a:gd name="connsiteX2" fmla="*/ 59 w 743009"/>
                <a:gd name="connsiteY2" fmla="*/ 123825 h 800100"/>
                <a:gd name="connsiteX3" fmla="*/ 59 w 743009"/>
                <a:gd name="connsiteY3" fmla="*/ 800100 h 800100"/>
                <a:gd name="connsiteX0" fmla="*/ 743302 w 743302"/>
                <a:gd name="connsiteY0" fmla="*/ 0 h 800100"/>
                <a:gd name="connsiteX1" fmla="*/ 171802 w 743302"/>
                <a:gd name="connsiteY1" fmla="*/ 0 h 800100"/>
                <a:gd name="connsiteX2" fmla="*/ 352 w 743302"/>
                <a:gd name="connsiteY2" fmla="*/ 123825 h 800100"/>
                <a:gd name="connsiteX3" fmla="*/ 352 w 743302"/>
                <a:gd name="connsiteY3" fmla="*/ 800100 h 800100"/>
                <a:gd name="connsiteX0" fmla="*/ 743302 w 743302"/>
                <a:gd name="connsiteY0" fmla="*/ 0 h 800100"/>
                <a:gd name="connsiteX1" fmla="*/ 171802 w 743302"/>
                <a:gd name="connsiteY1" fmla="*/ 0 h 800100"/>
                <a:gd name="connsiteX2" fmla="*/ 352 w 743302"/>
                <a:gd name="connsiteY2" fmla="*/ 123825 h 800100"/>
                <a:gd name="connsiteX3" fmla="*/ 352 w 743302"/>
                <a:gd name="connsiteY3" fmla="*/ 800100 h 800100"/>
                <a:gd name="connsiteX0" fmla="*/ 743302 w 743302"/>
                <a:gd name="connsiteY0" fmla="*/ 153 h 800253"/>
                <a:gd name="connsiteX1" fmla="*/ 171802 w 743302"/>
                <a:gd name="connsiteY1" fmla="*/ 153 h 800253"/>
                <a:gd name="connsiteX2" fmla="*/ 352 w 743302"/>
                <a:gd name="connsiteY2" fmla="*/ 123978 h 800253"/>
                <a:gd name="connsiteX3" fmla="*/ 352 w 743302"/>
                <a:gd name="connsiteY3" fmla="*/ 800253 h 800253"/>
                <a:gd name="connsiteX0" fmla="*/ 743302 w 743302"/>
                <a:gd name="connsiteY0" fmla="*/ 190 h 800290"/>
                <a:gd name="connsiteX1" fmla="*/ 171802 w 743302"/>
                <a:gd name="connsiteY1" fmla="*/ 190 h 800290"/>
                <a:gd name="connsiteX2" fmla="*/ 352 w 743302"/>
                <a:gd name="connsiteY2" fmla="*/ 124015 h 800290"/>
                <a:gd name="connsiteX3" fmla="*/ 352 w 743302"/>
                <a:gd name="connsiteY3" fmla="*/ 800290 h 8002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3302" h="800290">
                  <a:moveTo>
                    <a:pt x="743302" y="190"/>
                  </a:moveTo>
                  <a:lnTo>
                    <a:pt x="171802" y="190"/>
                  </a:lnTo>
                  <a:cubicBezTo>
                    <a:pt x="-17501" y="-121"/>
                    <a:pt x="1145" y="-8158"/>
                    <a:pt x="352" y="124015"/>
                  </a:cubicBezTo>
                  <a:cubicBezTo>
                    <a:pt x="-441" y="256188"/>
                    <a:pt x="352" y="574865"/>
                    <a:pt x="352" y="800290"/>
                  </a:cubicBezTo>
                </a:path>
              </a:pathLst>
            </a:custGeom>
            <a:noFill/>
            <a:ln w="19050">
              <a:solidFill>
                <a:schemeClr val="bg2"/>
              </a:solidFill>
              <a:tailEnd type="arrow" w="med" len="sm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Freeform 22"/>
            <p:cNvSpPr/>
            <p:nvPr/>
          </p:nvSpPr>
          <p:spPr bwMode="gray">
            <a:xfrm>
              <a:off x="7687798" y="3248103"/>
              <a:ext cx="103651" cy="822960"/>
            </a:xfrm>
            <a:custGeom>
              <a:avLst/>
              <a:gdLst>
                <a:gd name="connsiteX0" fmla="*/ 742950 w 742950"/>
                <a:gd name="connsiteY0" fmla="*/ 0 h 800100"/>
                <a:gd name="connsiteX1" fmla="*/ 171450 w 742950"/>
                <a:gd name="connsiteY1" fmla="*/ 0 h 800100"/>
                <a:gd name="connsiteX2" fmla="*/ 0 w 742950"/>
                <a:gd name="connsiteY2" fmla="*/ 123825 h 800100"/>
                <a:gd name="connsiteX3" fmla="*/ 0 w 742950"/>
                <a:gd name="connsiteY3" fmla="*/ 800100 h 800100"/>
                <a:gd name="connsiteX0" fmla="*/ 755650 w 755650"/>
                <a:gd name="connsiteY0" fmla="*/ 0 h 800100"/>
                <a:gd name="connsiteX1" fmla="*/ 184150 w 755650"/>
                <a:gd name="connsiteY1" fmla="*/ 0 h 800100"/>
                <a:gd name="connsiteX2" fmla="*/ 12700 w 755650"/>
                <a:gd name="connsiteY2" fmla="*/ 123825 h 800100"/>
                <a:gd name="connsiteX3" fmla="*/ 12700 w 755650"/>
                <a:gd name="connsiteY3" fmla="*/ 800100 h 800100"/>
                <a:gd name="connsiteX0" fmla="*/ 744362 w 744362"/>
                <a:gd name="connsiteY0" fmla="*/ 0 h 800100"/>
                <a:gd name="connsiteX1" fmla="*/ 172862 w 744362"/>
                <a:gd name="connsiteY1" fmla="*/ 0 h 800100"/>
                <a:gd name="connsiteX2" fmla="*/ 1412 w 744362"/>
                <a:gd name="connsiteY2" fmla="*/ 123825 h 800100"/>
                <a:gd name="connsiteX3" fmla="*/ 1412 w 744362"/>
                <a:gd name="connsiteY3" fmla="*/ 800100 h 800100"/>
                <a:gd name="connsiteX0" fmla="*/ 744362 w 744362"/>
                <a:gd name="connsiteY0" fmla="*/ 0 h 800100"/>
                <a:gd name="connsiteX1" fmla="*/ 172862 w 744362"/>
                <a:gd name="connsiteY1" fmla="*/ 0 h 800100"/>
                <a:gd name="connsiteX2" fmla="*/ 1412 w 744362"/>
                <a:gd name="connsiteY2" fmla="*/ 123825 h 800100"/>
                <a:gd name="connsiteX3" fmla="*/ 1412 w 744362"/>
                <a:gd name="connsiteY3" fmla="*/ 800100 h 800100"/>
                <a:gd name="connsiteX0" fmla="*/ 744362 w 744362"/>
                <a:gd name="connsiteY0" fmla="*/ 0 h 800100"/>
                <a:gd name="connsiteX1" fmla="*/ 172862 w 744362"/>
                <a:gd name="connsiteY1" fmla="*/ 0 h 800100"/>
                <a:gd name="connsiteX2" fmla="*/ 1412 w 744362"/>
                <a:gd name="connsiteY2" fmla="*/ 123825 h 800100"/>
                <a:gd name="connsiteX3" fmla="*/ 1412 w 744362"/>
                <a:gd name="connsiteY3" fmla="*/ 800100 h 800100"/>
                <a:gd name="connsiteX0" fmla="*/ 743303 w 743303"/>
                <a:gd name="connsiteY0" fmla="*/ 0 h 800100"/>
                <a:gd name="connsiteX1" fmla="*/ 171803 w 743303"/>
                <a:gd name="connsiteY1" fmla="*/ 0 h 800100"/>
                <a:gd name="connsiteX2" fmla="*/ 353 w 743303"/>
                <a:gd name="connsiteY2" fmla="*/ 123825 h 800100"/>
                <a:gd name="connsiteX3" fmla="*/ 353 w 743303"/>
                <a:gd name="connsiteY3" fmla="*/ 800100 h 800100"/>
                <a:gd name="connsiteX0" fmla="*/ 743303 w 743303"/>
                <a:gd name="connsiteY0" fmla="*/ 0 h 800100"/>
                <a:gd name="connsiteX1" fmla="*/ 171803 w 743303"/>
                <a:gd name="connsiteY1" fmla="*/ 0 h 800100"/>
                <a:gd name="connsiteX2" fmla="*/ 353 w 743303"/>
                <a:gd name="connsiteY2" fmla="*/ 123825 h 800100"/>
                <a:gd name="connsiteX3" fmla="*/ 353 w 743303"/>
                <a:gd name="connsiteY3" fmla="*/ 800100 h 800100"/>
                <a:gd name="connsiteX0" fmla="*/ 743303 w 743303"/>
                <a:gd name="connsiteY0" fmla="*/ 0 h 800100"/>
                <a:gd name="connsiteX1" fmla="*/ 171803 w 743303"/>
                <a:gd name="connsiteY1" fmla="*/ 0 h 800100"/>
                <a:gd name="connsiteX2" fmla="*/ 353 w 743303"/>
                <a:gd name="connsiteY2" fmla="*/ 123825 h 800100"/>
                <a:gd name="connsiteX3" fmla="*/ 353 w 743303"/>
                <a:gd name="connsiteY3" fmla="*/ 800100 h 800100"/>
                <a:gd name="connsiteX0" fmla="*/ 743303 w 743303"/>
                <a:gd name="connsiteY0" fmla="*/ 0 h 800100"/>
                <a:gd name="connsiteX1" fmla="*/ 171803 w 743303"/>
                <a:gd name="connsiteY1" fmla="*/ 0 h 800100"/>
                <a:gd name="connsiteX2" fmla="*/ 353 w 743303"/>
                <a:gd name="connsiteY2" fmla="*/ 123825 h 800100"/>
                <a:gd name="connsiteX3" fmla="*/ 353 w 743303"/>
                <a:gd name="connsiteY3" fmla="*/ 800100 h 800100"/>
                <a:gd name="connsiteX0" fmla="*/ 743009 w 743009"/>
                <a:gd name="connsiteY0" fmla="*/ 0 h 800100"/>
                <a:gd name="connsiteX1" fmla="*/ 171509 w 743009"/>
                <a:gd name="connsiteY1" fmla="*/ 0 h 800100"/>
                <a:gd name="connsiteX2" fmla="*/ 59 w 743009"/>
                <a:gd name="connsiteY2" fmla="*/ 123825 h 800100"/>
                <a:gd name="connsiteX3" fmla="*/ 59 w 743009"/>
                <a:gd name="connsiteY3" fmla="*/ 800100 h 800100"/>
                <a:gd name="connsiteX0" fmla="*/ 743302 w 743302"/>
                <a:gd name="connsiteY0" fmla="*/ 0 h 800100"/>
                <a:gd name="connsiteX1" fmla="*/ 171802 w 743302"/>
                <a:gd name="connsiteY1" fmla="*/ 0 h 800100"/>
                <a:gd name="connsiteX2" fmla="*/ 352 w 743302"/>
                <a:gd name="connsiteY2" fmla="*/ 123825 h 800100"/>
                <a:gd name="connsiteX3" fmla="*/ 352 w 743302"/>
                <a:gd name="connsiteY3" fmla="*/ 800100 h 800100"/>
                <a:gd name="connsiteX0" fmla="*/ 743302 w 743302"/>
                <a:gd name="connsiteY0" fmla="*/ 0 h 800100"/>
                <a:gd name="connsiteX1" fmla="*/ 171802 w 743302"/>
                <a:gd name="connsiteY1" fmla="*/ 0 h 800100"/>
                <a:gd name="connsiteX2" fmla="*/ 352 w 743302"/>
                <a:gd name="connsiteY2" fmla="*/ 123825 h 800100"/>
                <a:gd name="connsiteX3" fmla="*/ 352 w 743302"/>
                <a:gd name="connsiteY3" fmla="*/ 800100 h 800100"/>
                <a:gd name="connsiteX0" fmla="*/ 743302 w 743302"/>
                <a:gd name="connsiteY0" fmla="*/ 0 h 800100"/>
                <a:gd name="connsiteX1" fmla="*/ 171802 w 743302"/>
                <a:gd name="connsiteY1" fmla="*/ 0 h 800100"/>
                <a:gd name="connsiteX2" fmla="*/ 352 w 743302"/>
                <a:gd name="connsiteY2" fmla="*/ 123825 h 800100"/>
                <a:gd name="connsiteX3" fmla="*/ 352 w 743302"/>
                <a:gd name="connsiteY3" fmla="*/ 800100 h 80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3302" h="800100">
                  <a:moveTo>
                    <a:pt x="743302" y="0"/>
                  </a:moveTo>
                  <a:lnTo>
                    <a:pt x="171802" y="0"/>
                  </a:lnTo>
                  <a:cubicBezTo>
                    <a:pt x="-13935" y="1748"/>
                    <a:pt x="1147" y="4256"/>
                    <a:pt x="352" y="123825"/>
                  </a:cubicBezTo>
                  <a:cubicBezTo>
                    <a:pt x="-443" y="243394"/>
                    <a:pt x="352" y="574675"/>
                    <a:pt x="352" y="800100"/>
                  </a:cubicBezTo>
                </a:path>
              </a:pathLst>
            </a:custGeom>
            <a:noFill/>
            <a:ln w="19050">
              <a:solidFill>
                <a:schemeClr val="bg2"/>
              </a:solidFill>
              <a:tailEnd type="arrow" w="med" len="sm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546297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Optimized logistic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8371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4A4C61D0-2FDE-452F-9325-CE6A8B0E40BB}" type="datetime4">
              <a:rPr lang="en-US" smtClean="0"/>
              <a:t>December 14, 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lvl="8"/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6" name="Subtitle 5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US" dirty="0"/>
              <a:t>Only 4 coils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timized logistics</a:t>
            </a:r>
          </a:p>
        </p:txBody>
      </p:sp>
      <p:graphicFrame>
        <p:nvGraphicFramePr>
          <p:cNvPr id="2" name="Table 10">
            <a:extLst>
              <a:ext uri="{FF2B5EF4-FFF2-40B4-BE49-F238E27FC236}">
                <a16:creationId xmlns:a16="http://schemas.microsoft.com/office/drawing/2014/main" id="{D97389F5-6EB0-41BA-8E9B-F0F149D4388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93997463"/>
              </p:ext>
            </p:extLst>
          </p:nvPr>
        </p:nvGraphicFramePr>
        <p:xfrm>
          <a:off x="448146" y="2119376"/>
          <a:ext cx="8154832" cy="2345620"/>
        </p:xfrm>
        <a:graphic>
          <a:graphicData uri="http://schemas.openxmlformats.org/drawingml/2006/table">
            <a:tbl>
              <a:tblPr firstRow="1" bandRow="1">
                <a:tableStyleId>{773F8A54-F971-430D-9108-034FE38666EA}</a:tableStyleId>
              </a:tblPr>
              <a:tblGrid>
                <a:gridCol w="1359138">
                  <a:extLst>
                    <a:ext uri="{9D8B030D-6E8A-4147-A177-3AD203B41FA5}">
                      <a16:colId xmlns:a16="http://schemas.microsoft.com/office/drawing/2014/main" val="3943570582"/>
                    </a:ext>
                  </a:extLst>
                </a:gridCol>
                <a:gridCol w="1359140">
                  <a:extLst>
                    <a:ext uri="{9D8B030D-6E8A-4147-A177-3AD203B41FA5}">
                      <a16:colId xmlns:a16="http://schemas.microsoft.com/office/drawing/2014/main" val="2524572646"/>
                    </a:ext>
                  </a:extLst>
                </a:gridCol>
                <a:gridCol w="1359138">
                  <a:extLst>
                    <a:ext uri="{9D8B030D-6E8A-4147-A177-3AD203B41FA5}">
                      <a16:colId xmlns:a16="http://schemas.microsoft.com/office/drawing/2014/main" val="944223650"/>
                    </a:ext>
                  </a:extLst>
                </a:gridCol>
                <a:gridCol w="1359138">
                  <a:extLst>
                    <a:ext uri="{9D8B030D-6E8A-4147-A177-3AD203B41FA5}">
                      <a16:colId xmlns:a16="http://schemas.microsoft.com/office/drawing/2014/main" val="1493990911"/>
                    </a:ext>
                  </a:extLst>
                </a:gridCol>
                <a:gridCol w="1359140">
                  <a:extLst>
                    <a:ext uri="{9D8B030D-6E8A-4147-A177-3AD203B41FA5}">
                      <a16:colId xmlns:a16="http://schemas.microsoft.com/office/drawing/2014/main" val="3537307686"/>
                    </a:ext>
                  </a:extLst>
                </a:gridCol>
                <a:gridCol w="1359138">
                  <a:extLst>
                    <a:ext uri="{9D8B030D-6E8A-4147-A177-3AD203B41FA5}">
                      <a16:colId xmlns:a16="http://schemas.microsoft.com/office/drawing/2014/main" val="3787838084"/>
                    </a:ext>
                  </a:extLst>
                </a:gridCol>
              </a:tblGrid>
              <a:tr h="370554">
                <a:tc gridSpan="3">
                  <a:txBody>
                    <a:bodyPr/>
                    <a:lstStyle/>
                    <a:p>
                      <a:pPr algn="ctr"/>
                      <a:r>
                        <a:rPr lang="fr-FR" sz="1400" dirty="0">
                          <a:solidFill>
                            <a:srgbClr val="FF0000"/>
                          </a:solidFill>
                        </a:rPr>
                        <a:t>AF09N00, AF12N0, AF26N1, AF40N2, AF80N3, AF140N4, AF265N5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fr-FR" sz="1400" dirty="0">
                          <a:solidFill>
                            <a:srgbClr val="FF0000"/>
                          </a:solidFill>
                        </a:rPr>
                        <a:t>AF460N6, AF750N7, AF1650N8*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5560329"/>
                  </a:ext>
                </a:extLst>
              </a:tr>
              <a:tr h="327816">
                <a:tc>
                  <a:txBody>
                    <a:bodyPr/>
                    <a:lstStyle/>
                    <a:p>
                      <a:r>
                        <a:rPr lang="fr-FR" sz="1200" b="1" dirty="0" err="1">
                          <a:solidFill>
                            <a:schemeClr val="tx1"/>
                          </a:solidFill>
                        </a:rPr>
                        <a:t>Coils</a:t>
                      </a:r>
                      <a:endParaRPr lang="fr-FR" sz="12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fr-FR" sz="1200" b="1" dirty="0">
                          <a:solidFill>
                            <a:schemeClr val="tx1"/>
                          </a:solidFill>
                        </a:rPr>
                        <a:t>V AC 50/60 Hz</a:t>
                      </a:r>
                    </a:p>
                  </a:txBody>
                  <a:tcPr marL="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fr-FR" sz="1200" b="1" dirty="0">
                          <a:solidFill>
                            <a:schemeClr val="tx1"/>
                          </a:solidFill>
                        </a:rPr>
                        <a:t>V DC</a:t>
                      </a:r>
                    </a:p>
                  </a:txBody>
                  <a:tcPr marL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fr-FR" sz="1200" b="1" dirty="0" err="1">
                          <a:solidFill>
                            <a:schemeClr val="tx1"/>
                          </a:solidFill>
                        </a:rPr>
                        <a:t>Coils</a:t>
                      </a:r>
                      <a:endParaRPr lang="fr-FR" sz="12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fr-FR" sz="1200" b="1" dirty="0">
                          <a:solidFill>
                            <a:schemeClr val="tx1"/>
                          </a:solidFill>
                        </a:rPr>
                        <a:t>V AC 50/60 Hz</a:t>
                      </a:r>
                    </a:p>
                  </a:txBody>
                  <a:tcPr marL="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fr-FR" sz="1200" b="1" dirty="0">
                          <a:solidFill>
                            <a:schemeClr val="tx1"/>
                          </a:solidFill>
                        </a:rPr>
                        <a:t>V DC</a:t>
                      </a:r>
                    </a:p>
                  </a:txBody>
                  <a:tcPr marL="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4157344538"/>
                  </a:ext>
                </a:extLst>
              </a:tr>
              <a:tr h="245494">
                <a:tc>
                  <a:txBody>
                    <a:bodyPr/>
                    <a:lstStyle/>
                    <a:p>
                      <a:r>
                        <a:rPr lang="fr-FR" sz="1200" dirty="0"/>
                        <a:t>Code 11</a:t>
                      </a:r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l" defTabSz="914491" rtl="0" eaLnBrk="1" fontAlgn="b" latinLnBrk="0" hangingPunct="1"/>
                      <a:r>
                        <a:rPr lang="fr-FR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4...6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l" defTabSz="914491" rtl="0" eaLnBrk="1" fontAlgn="b" latinLnBrk="0" hangingPunct="1"/>
                      <a:r>
                        <a:rPr lang="fr-FR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0...60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algn="l" defTabSz="914491" rtl="0" eaLnBrk="1" latinLnBrk="0" hangingPunct="1"/>
                      <a:r>
                        <a:rPr lang="fr-FR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de 6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algn="l" defTabSz="914491" rtl="0" eaLnBrk="1" fontAlgn="b" latinLnBrk="0" hangingPunct="1"/>
                      <a:r>
                        <a:rPr lang="fr-FR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l" defTabSz="914491" rtl="0" eaLnBrk="1" fontAlgn="b" latinLnBrk="0" hangingPunct="1"/>
                      <a:r>
                        <a:rPr lang="fr-FR" sz="12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4...60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439367518"/>
                  </a:ext>
                </a:extLst>
              </a:tr>
              <a:tr h="204854">
                <a:tc>
                  <a:txBody>
                    <a:bodyPr/>
                    <a:lstStyle/>
                    <a:p>
                      <a:r>
                        <a:rPr lang="fr-FR" sz="1200" dirty="0"/>
                        <a:t>Code </a:t>
                      </a:r>
                      <a:r>
                        <a:rPr lang="fr-FR" sz="1200" dirty="0">
                          <a:solidFill>
                            <a:schemeClr val="tx1"/>
                          </a:solidFill>
                        </a:rPr>
                        <a:t>1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l" defTabSz="914491" rtl="0" eaLnBrk="1" fontAlgn="b" latinLnBrk="0" hangingPunct="1"/>
                      <a:r>
                        <a:rPr lang="fr-FR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48...13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l" defTabSz="914491" rtl="0" eaLnBrk="1" fontAlgn="b" latinLnBrk="0" hangingPunct="1"/>
                      <a:r>
                        <a:rPr lang="fr-FR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48...130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algn="l" defTabSz="914491" rtl="0" eaLnBrk="1" latinLnBrk="0" hangingPunct="1"/>
                      <a:r>
                        <a:rPr lang="fr-FR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de 6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algn="l" defTabSz="914491" rtl="0" eaLnBrk="1" fontAlgn="b" latinLnBrk="0" hangingPunct="1"/>
                      <a:r>
                        <a:rPr lang="fr-FR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48...13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l" defTabSz="914491" rtl="0" eaLnBrk="1" fontAlgn="b" latinLnBrk="0" hangingPunct="1"/>
                      <a:r>
                        <a:rPr lang="fr-FR" sz="12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48...130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804730342"/>
                  </a:ext>
                </a:extLst>
              </a:tr>
              <a:tr h="232022">
                <a:tc>
                  <a:txBody>
                    <a:bodyPr/>
                    <a:lstStyle/>
                    <a:p>
                      <a:r>
                        <a:rPr lang="fr-FR" sz="1200" dirty="0"/>
                        <a:t>Code </a:t>
                      </a:r>
                      <a:r>
                        <a:rPr lang="fr-FR" sz="1200" dirty="0">
                          <a:solidFill>
                            <a:schemeClr val="tx1"/>
                          </a:solidFill>
                        </a:rPr>
                        <a:t>1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l" defTabSz="914491" rtl="0" eaLnBrk="1" fontAlgn="b" latinLnBrk="0" hangingPunct="1"/>
                      <a:r>
                        <a:rPr lang="fr-FR" sz="12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00...25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l" defTabSz="914491" rtl="0" eaLnBrk="1" fontAlgn="b" latinLnBrk="0" hangingPunct="1"/>
                      <a:r>
                        <a:rPr lang="fr-FR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00...250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algn="l" defTabSz="914491" rtl="0" eaLnBrk="1" latinLnBrk="0" hangingPunct="1"/>
                      <a:r>
                        <a:rPr lang="fr-FR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de 7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algn="l" defTabSz="914491" rtl="0" eaLnBrk="1" fontAlgn="b" latinLnBrk="0" hangingPunct="1"/>
                      <a:r>
                        <a:rPr lang="fr-FR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00...25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l" defTabSz="914491" rtl="0" eaLnBrk="1" fontAlgn="b" latinLnBrk="0" hangingPunct="1"/>
                      <a:r>
                        <a:rPr lang="fr-FR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00...250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883086987"/>
                  </a:ext>
                </a:extLst>
              </a:tr>
              <a:tr h="200298">
                <a:tc>
                  <a:txBody>
                    <a:bodyPr/>
                    <a:lstStyle/>
                    <a:p>
                      <a:r>
                        <a:rPr lang="fr-FR" sz="1200" dirty="0"/>
                        <a:t>Code </a:t>
                      </a:r>
                      <a:r>
                        <a:rPr lang="fr-FR" sz="1200" dirty="0">
                          <a:solidFill>
                            <a:schemeClr val="tx1"/>
                          </a:solidFill>
                        </a:rPr>
                        <a:t>14</a:t>
                      </a:r>
                    </a:p>
                  </a:txBody>
                  <a:tcPr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91" rtl="0" eaLnBrk="1" fontAlgn="b" latinLnBrk="0" hangingPunct="1"/>
                      <a:r>
                        <a:rPr lang="fr-FR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50...500</a:t>
                      </a:r>
                    </a:p>
                  </a:txBody>
                  <a:tcPr marL="7620" marR="7620" marT="7620" marB="0"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91" rtl="0" eaLnBrk="1" fontAlgn="b" latinLnBrk="0" hangingPunct="1"/>
                      <a:r>
                        <a:rPr lang="fr-FR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50...500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91" rtl="0" eaLnBrk="1" latinLnBrk="0" hangingPunct="1"/>
                      <a:r>
                        <a:rPr lang="fr-FR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de 7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91" rtl="0" eaLnBrk="1" fontAlgn="b" latinLnBrk="0" hangingPunct="1"/>
                      <a:r>
                        <a:rPr lang="fr-FR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50...500</a:t>
                      </a:r>
                    </a:p>
                  </a:txBody>
                  <a:tcPr marL="7620" marR="7620" marT="7620" marB="0"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91" rtl="0" eaLnBrk="1" fontAlgn="b" latinLnBrk="0" hangingPunct="1"/>
                      <a:r>
                        <a:rPr lang="fr-FR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50...500</a:t>
                      </a:r>
                    </a:p>
                  </a:txBody>
                  <a:tcPr marL="7620" marR="7620" marT="7620" marB="0"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5909743"/>
                  </a:ext>
                </a:extLst>
              </a:tr>
              <a:tr h="402364">
                <a:tc gridSpan="6">
                  <a:txBody>
                    <a:bodyPr/>
                    <a:lstStyle/>
                    <a:p>
                      <a:r>
                        <a:rPr lang="fr-FR" sz="1200" dirty="0">
                          <a:solidFill>
                            <a:schemeClr val="tx1"/>
                          </a:solidFill>
                        </a:rPr>
                        <a:t>* AF1650N8 </a:t>
                      </a:r>
                      <a:r>
                        <a:rPr lang="fr-FR" sz="1200" dirty="0" err="1">
                          <a:solidFill>
                            <a:schemeClr val="tx1"/>
                          </a:solidFill>
                        </a:rPr>
                        <a:t>only</a:t>
                      </a:r>
                      <a:r>
                        <a:rPr lang="fr-FR" sz="12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fr-FR" sz="1200" dirty="0" err="1">
                          <a:solidFill>
                            <a:schemeClr val="tx1"/>
                          </a:solidFill>
                        </a:rPr>
                        <a:t>available</a:t>
                      </a:r>
                      <a:r>
                        <a:rPr lang="fr-FR" sz="12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fr-FR" sz="1200" dirty="0" err="1">
                          <a:solidFill>
                            <a:schemeClr val="tx1"/>
                          </a:solidFill>
                        </a:rPr>
                        <a:t>with</a:t>
                      </a:r>
                      <a:r>
                        <a:rPr lang="fr-FR" sz="12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fr-FR" sz="1200" dirty="0" err="1">
                          <a:solidFill>
                            <a:schemeClr val="tx1"/>
                          </a:solidFill>
                        </a:rPr>
                        <a:t>coil</a:t>
                      </a:r>
                      <a:r>
                        <a:rPr lang="fr-FR" sz="1200" dirty="0">
                          <a:solidFill>
                            <a:schemeClr val="tx1"/>
                          </a:solidFill>
                        </a:rPr>
                        <a:t> 70 : 100…250 V 50/60Hz, 100…250 V DC</a:t>
                      </a:r>
                    </a:p>
                  </a:txBody>
                  <a:tcPr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marL="0" algn="l" defTabSz="914491" rtl="0" eaLnBrk="1" fontAlgn="b" latinLnBrk="0" hangingPunct="1"/>
                      <a:endParaRPr lang="fr-FR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 hMerge="1">
                  <a:txBody>
                    <a:bodyPr/>
                    <a:lstStyle/>
                    <a:p>
                      <a:pPr marL="0" algn="l" defTabSz="914491" rtl="0" eaLnBrk="1" fontAlgn="b" latinLnBrk="0" hangingPunct="1"/>
                      <a:endParaRPr lang="fr-FR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marL="0" algn="l" defTabSz="914491" rtl="0" eaLnBrk="1" latinLnBrk="0" hangingPunct="1"/>
                      <a:endParaRPr lang="fr-FR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marL="0" algn="l" defTabSz="914491" rtl="0" eaLnBrk="1" fontAlgn="b" latinLnBrk="0" hangingPunct="1"/>
                      <a:endParaRPr lang="fr-FR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 hMerge="1">
                  <a:txBody>
                    <a:bodyPr/>
                    <a:lstStyle/>
                    <a:p>
                      <a:pPr marL="0" algn="l" defTabSz="914491" rtl="0" eaLnBrk="1" fontAlgn="b" latinLnBrk="0" hangingPunct="1"/>
                      <a:endParaRPr lang="fr-FR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62289334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98414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Speed-up your project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191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BB Master">
  <a:themeElements>
    <a:clrScheme name="Niestandardowy 1">
      <a:dk1>
        <a:srgbClr val="000000"/>
      </a:dk1>
      <a:lt1>
        <a:srgbClr val="FFFFFF"/>
      </a:lt1>
      <a:dk2>
        <a:srgbClr val="D90000"/>
      </a:dk2>
      <a:lt2>
        <a:srgbClr val="FF000F"/>
      </a:lt2>
      <a:accent1>
        <a:srgbClr val="262626"/>
      </a:accent1>
      <a:accent2>
        <a:srgbClr val="6E6E6E"/>
      </a:accent2>
      <a:accent3>
        <a:srgbClr val="A9A9A9"/>
      </a:accent3>
      <a:accent4>
        <a:srgbClr val="D2D2D2"/>
      </a:accent4>
      <a:accent5>
        <a:srgbClr val="F0F0F0"/>
      </a:accent5>
      <a:accent6>
        <a:srgbClr val="FAFAFA"/>
      </a:accent6>
      <a:hlink>
        <a:srgbClr val="D90000"/>
      </a:hlink>
      <a:folHlink>
        <a:srgbClr val="FF000F"/>
      </a:folHlink>
    </a:clrScheme>
    <a:fontScheme name="ABBvoice">
      <a:majorFont>
        <a:latin typeface="ABBvoice"/>
        <a:ea typeface="ABBvoice"/>
        <a:cs typeface="ABBvoice"/>
      </a:majorFont>
      <a:minorFont>
        <a:latin typeface="ABBvoice"/>
        <a:ea typeface="ABBvoice"/>
        <a:cs typeface="ABBvoice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2"/>
        </a:solidFill>
        <a:ln>
          <a:noFill/>
        </a:ln>
      </a:spPr>
      <a:bodyPr rtlCol="0" anchor="ctr"/>
      <a:lstStyle>
        <a:defPPr algn="ctr"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72000" tIns="72000" rIns="72000" bIns="72000" rtlCol="0">
        <a:noAutofit/>
      </a:bodyPr>
      <a:lstStyle>
        <a:defPPr>
          <a:defRPr sz="1400" dirty="0" err="1" smtClean="0"/>
        </a:defPPr>
      </a:lstStyle>
    </a:txDef>
  </a:objectDefaults>
  <a:extraClrSchemeLst/>
  <a:custClrLst>
    <a:custClr name="Blue">
      <a:srgbClr val="004C97"/>
    </a:custClr>
    <a:custClr name="Green">
      <a:srgbClr val="007A33"/>
    </a:custClr>
    <a:custClr name="Yellow">
      <a:srgbClr val="FFD100"/>
    </a:custClr>
    <a:custClr name="Red Grey">
      <a:srgbClr val="817275"/>
    </a:custClr>
    <a:custClr name="Green Grey">
      <a:srgbClr val="6B7173"/>
    </a:custClr>
    <a:custClr name="Blue Grey">
      <a:srgbClr val="5B6F80"/>
    </a:custClr>
    <a:custClr name="Violet Grey">
      <a:srgbClr val="78838E"/>
    </a:custClr>
  </a:custClrLst>
  <a:extLst>
    <a:ext uri="{05A4C25C-085E-4340-85A3-A5531E510DB2}">
      <thm15:themeFamily xmlns:thm15="http://schemas.microsoft.com/office/thememl/2012/main" name="Presentation3" id="{CACE36F1-506F-4ADB-B799-BB1918B7798B}" vid="{69F872CC-4054-4D13-A29E-CDF1CBABF73B}"/>
    </a:ext>
  </a:extLst>
</a:theme>
</file>

<file path=ppt/theme/theme2.xml><?xml version="1.0" encoding="utf-8"?>
<a:theme xmlns:a="http://schemas.openxmlformats.org/drawingml/2006/main" name="Office Theme">
  <a:themeElements>
    <a:clrScheme name="ABB">
      <a:dk1>
        <a:srgbClr val="000000"/>
      </a:dk1>
      <a:lt1>
        <a:srgbClr val="FFFFFF"/>
      </a:lt1>
      <a:dk2>
        <a:srgbClr val="D90000"/>
      </a:dk2>
      <a:lt2>
        <a:srgbClr val="FF000F"/>
      </a:lt2>
      <a:accent1>
        <a:srgbClr val="1E1E1E"/>
      </a:accent1>
      <a:accent2>
        <a:srgbClr val="3C3C3C"/>
      </a:accent2>
      <a:accent3>
        <a:srgbClr val="6E6E6E"/>
      </a:accent3>
      <a:accent4>
        <a:srgbClr val="A0A0A0"/>
      </a:accent4>
      <a:accent5>
        <a:srgbClr val="D2D2D2"/>
      </a:accent5>
      <a:accent6>
        <a:srgbClr val="F0F0F0"/>
      </a:accent6>
      <a:hlink>
        <a:srgbClr val="D90000"/>
      </a:hlink>
      <a:folHlink>
        <a:srgbClr val="FF000F"/>
      </a:folHlink>
    </a:clrScheme>
    <a:fontScheme name="ABBvoiceOffice">
      <a:majorFont>
        <a:latin typeface="ABBvoiceOffice"/>
        <a:ea typeface="ABBvoiceOffice"/>
        <a:cs typeface="ABBvoiceOffice"/>
      </a:majorFont>
      <a:minorFont>
        <a:latin typeface="ABBvoiceOffice"/>
        <a:ea typeface="ABBvoiceOffice"/>
        <a:cs typeface="ABBvoiceOffice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ABB">
      <a:dk1>
        <a:srgbClr val="000000"/>
      </a:dk1>
      <a:lt1>
        <a:srgbClr val="FFFFFF"/>
      </a:lt1>
      <a:dk2>
        <a:srgbClr val="D90000"/>
      </a:dk2>
      <a:lt2>
        <a:srgbClr val="FF000F"/>
      </a:lt2>
      <a:accent1>
        <a:srgbClr val="1E1E1E"/>
      </a:accent1>
      <a:accent2>
        <a:srgbClr val="3C3C3C"/>
      </a:accent2>
      <a:accent3>
        <a:srgbClr val="6E6E6E"/>
      </a:accent3>
      <a:accent4>
        <a:srgbClr val="A0A0A0"/>
      </a:accent4>
      <a:accent5>
        <a:srgbClr val="D2D2D2"/>
      </a:accent5>
      <a:accent6>
        <a:srgbClr val="F0F0F0"/>
      </a:accent6>
      <a:hlink>
        <a:srgbClr val="D90000"/>
      </a:hlink>
      <a:folHlink>
        <a:srgbClr val="FF000F"/>
      </a:folHlink>
    </a:clrScheme>
    <a:fontScheme name="ABBvoiceOffice">
      <a:majorFont>
        <a:latin typeface="ABBvoiceOffice"/>
        <a:ea typeface="ABBvoiceOffice"/>
        <a:cs typeface="ABBvoiceOffice"/>
      </a:majorFont>
      <a:minorFont>
        <a:latin typeface="ABBvoiceOffice"/>
        <a:ea typeface="ABBvoiceOffice"/>
        <a:cs typeface="ABBvoiceOffice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0FCEBDBF1E7D84AA995261A6AEE6024" ma:contentTypeVersion="12" ma:contentTypeDescription="Create a new document." ma:contentTypeScope="" ma:versionID="13d0961430fb7656b838e5b895a4fe2b">
  <xsd:schema xmlns:xsd="http://www.w3.org/2001/XMLSchema" xmlns:xs="http://www.w3.org/2001/XMLSchema" xmlns:p="http://schemas.microsoft.com/office/2006/metadata/properties" xmlns:ns3="de1c424d-ac5d-4872-999d-63e8221df6a1" xmlns:ns4="354ac819-e9d4-4d05-b8c4-7c33e8b991b2" targetNamespace="http://schemas.microsoft.com/office/2006/metadata/properties" ma:root="true" ma:fieldsID="efc749dbbbc56a81643f1675d37c9907" ns3:_="" ns4:_="">
    <xsd:import namespace="de1c424d-ac5d-4872-999d-63e8221df6a1"/>
    <xsd:import namespace="354ac819-e9d4-4d05-b8c4-7c33e8b991b2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KeyPoints" minOccurs="0"/>
                <xsd:element ref="ns3:MediaServiceKeyPoints" minOccurs="0"/>
                <xsd:element ref="ns3:MediaServiceGenerationTime" minOccurs="0"/>
                <xsd:element ref="ns3:MediaServiceEventHashCode" minOccurs="0"/>
                <xsd:element ref="ns3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e1c424d-ac5d-4872-999d-63e8221df6a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54ac819-e9d4-4d05-b8c4-7c33e8b991b2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4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21E2A80-1B4E-4549-BB95-57F99B8F4AC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e1c424d-ac5d-4872-999d-63e8221df6a1"/>
    <ds:schemaRef ds:uri="354ac819-e9d4-4d05-b8c4-7c33e8b991b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4C481204-CEDD-4524-8537-1452C65C1507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A4170709-55D1-4873-ACBC-A125722447C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GE2017_ABB_Vinusri</Template>
  <TotalTime>3297</TotalTime>
  <Words>870</Words>
  <Application>Microsoft Office PowerPoint</Application>
  <PresentationFormat>Custom</PresentationFormat>
  <Paragraphs>369</Paragraphs>
  <Slides>17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3" baseType="lpstr">
      <vt:lpstr>ABBvoice</vt:lpstr>
      <vt:lpstr>ABBvoiceOffice</vt:lpstr>
      <vt:lpstr>Arial</vt:lpstr>
      <vt:lpstr>Symbol</vt:lpstr>
      <vt:lpstr>ABB Master</vt:lpstr>
      <vt:lpstr>think-cell Slide</vt:lpstr>
      <vt:lpstr>AF NEMA contactors</vt:lpstr>
      <vt:lpstr>AF NEMA contactors</vt:lpstr>
      <vt:lpstr>Introduction</vt:lpstr>
      <vt:lpstr>AF NEMA contactor range</vt:lpstr>
      <vt:lpstr>3-Pole range overview</vt:lpstr>
      <vt:lpstr>AF basic functionality</vt:lpstr>
      <vt:lpstr>Optimized logistic</vt:lpstr>
      <vt:lpstr>Optimized logistics</vt:lpstr>
      <vt:lpstr>Speed-up your projects</vt:lpstr>
      <vt:lpstr>Speed-up your projects </vt:lpstr>
      <vt:lpstr>Speed-up your projects</vt:lpstr>
      <vt:lpstr>Thermal overload relays </vt:lpstr>
      <vt:lpstr>Electronic overload relays</vt:lpstr>
      <vt:lpstr>Continuous operation</vt:lpstr>
      <vt:lpstr>Continuous operation</vt:lpstr>
      <vt:lpstr>Continuous operation</vt:lpstr>
      <vt:lpstr>PowerPoint Presentation</vt:lpstr>
    </vt:vector>
  </TitlesOfParts>
  <Company>RR Donnelle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eutige Systemdienstleistungen</dc:title>
  <dc:creator>Gurumani Murugan</dc:creator>
  <cp:lastModifiedBy>Benoit Gamen</cp:lastModifiedBy>
  <cp:revision>368</cp:revision>
  <cp:lastPrinted>2017-10-04T08:19:40Z</cp:lastPrinted>
  <dcterms:created xsi:type="dcterms:W3CDTF">2017-09-28T14:28:45Z</dcterms:created>
  <dcterms:modified xsi:type="dcterms:W3CDTF">2020-12-14T08:31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0FCEBDBF1E7D84AA995261A6AEE6024</vt:lpwstr>
  </property>
</Properties>
</file>